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7"/>
  </p:notesMasterIdLst>
  <p:sldIdLst>
    <p:sldId id="256" r:id="rId5"/>
    <p:sldId id="522" r:id="rId6"/>
    <p:sldId id="553" r:id="rId7"/>
    <p:sldId id="557" r:id="rId8"/>
    <p:sldId id="536" r:id="rId9"/>
    <p:sldId id="554" r:id="rId10"/>
    <p:sldId id="561" r:id="rId11"/>
    <p:sldId id="550" r:id="rId12"/>
    <p:sldId id="278" r:id="rId13"/>
    <p:sldId id="539" r:id="rId14"/>
    <p:sldId id="533" r:id="rId15"/>
    <p:sldId id="558" r:id="rId16"/>
  </p:sldIdLst>
  <p:sldSz cx="12192000" cy="6858000"/>
  <p:notesSz cx="6858000" cy="9144000"/>
  <p:custDataLst>
    <p:tags r:id="rId18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vsnitt" id="{939A33B8-1CB7-497F-82F4-F8D9138C32C5}">
          <p14:sldIdLst>
            <p14:sldId id="256"/>
            <p14:sldId id="522"/>
            <p14:sldId id="553"/>
            <p14:sldId id="557"/>
            <p14:sldId id="536"/>
            <p14:sldId id="554"/>
            <p14:sldId id="561"/>
            <p14:sldId id="550"/>
            <p14:sldId id="278"/>
            <p14:sldId id="539"/>
            <p14:sldId id="533"/>
            <p14:sldId id="558"/>
          </p14:sldIdLst>
        </p14:section>
        <p14:section name="Namnlöst avsnitt" id="{4A18139A-15BB-4D3B-8348-4D933C63CF05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389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BDDAED"/>
    <a:srgbClr val="C3DAEB"/>
    <a:srgbClr val="4D4D4D"/>
    <a:srgbClr val="D0E2EF"/>
    <a:srgbClr val="FFFFFF"/>
    <a:srgbClr val="D7D7D7"/>
    <a:srgbClr val="CCCCCC"/>
    <a:srgbClr val="999999"/>
    <a:srgbClr val="A2C5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D77BA82-3905-409C-BC03-293BDA2B1783}" v="37" dt="2026-05-06T13:04:49.81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002" autoAdjust="0"/>
    <p:restoredTop sz="83903" autoAdjust="0"/>
  </p:normalViewPr>
  <p:slideViewPr>
    <p:cSldViewPr snapToGrid="0" showGuides="1">
      <p:cViewPr varScale="1">
        <p:scale>
          <a:sx n="53" d="100"/>
          <a:sy n="53" d="100"/>
        </p:scale>
        <p:origin x="1216" y="40"/>
      </p:cViewPr>
      <p:guideLst>
        <p:guide orient="horz" pos="1389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n-Sofie KahlLöfqvist" userId="4267d22e-72b6-48ad-a46b-b6050a11fbc8" providerId="ADAL" clId="{AD9EA23A-5796-4D4A-9976-F5BAB167F6BE}"/>
    <pc:docChg chg="custSel addSld delSld modSld sldOrd modSection">
      <pc:chgData name="Ann-Sofie KahlLöfqvist" userId="4267d22e-72b6-48ad-a46b-b6050a11fbc8" providerId="ADAL" clId="{AD9EA23A-5796-4D4A-9976-F5BAB167F6BE}" dt="2026-05-06T13:17:13.235" v="523" actId="1036"/>
      <pc:docMkLst>
        <pc:docMk/>
      </pc:docMkLst>
      <pc:sldChg chg="addSp modSp mod modAnim">
        <pc:chgData name="Ann-Sofie KahlLöfqvist" userId="4267d22e-72b6-48ad-a46b-b6050a11fbc8" providerId="ADAL" clId="{AD9EA23A-5796-4D4A-9976-F5BAB167F6BE}" dt="2026-05-06T13:00:55.797" v="425" actId="20577"/>
        <pc:sldMkLst>
          <pc:docMk/>
          <pc:sldMk cId="341583809" sldId="256"/>
        </pc:sldMkLst>
        <pc:spChg chg="mod">
          <ac:chgData name="Ann-Sofie KahlLöfqvist" userId="4267d22e-72b6-48ad-a46b-b6050a11fbc8" providerId="ADAL" clId="{AD9EA23A-5796-4D4A-9976-F5BAB167F6BE}" dt="2026-05-06T12:46:16.957" v="29" actId="20577"/>
          <ac:spMkLst>
            <pc:docMk/>
            <pc:sldMk cId="341583809" sldId="256"/>
            <ac:spMk id="2" creationId="{7AC46CE0-371E-0A53-C8C7-CF88DE57AD76}"/>
          </ac:spMkLst>
        </pc:spChg>
        <pc:spChg chg="add mod">
          <ac:chgData name="Ann-Sofie KahlLöfqvist" userId="4267d22e-72b6-48ad-a46b-b6050a11fbc8" providerId="ADAL" clId="{AD9EA23A-5796-4D4A-9976-F5BAB167F6BE}" dt="2026-05-06T13:00:55.797" v="425" actId="20577"/>
          <ac:spMkLst>
            <pc:docMk/>
            <pc:sldMk cId="341583809" sldId="256"/>
            <ac:spMk id="6" creationId="{1F58C818-2AE8-D671-2FB0-B2FDF6890940}"/>
          </ac:spMkLst>
        </pc:spChg>
        <pc:picChg chg="add mod">
          <ac:chgData name="Ann-Sofie KahlLöfqvist" userId="4267d22e-72b6-48ad-a46b-b6050a11fbc8" providerId="ADAL" clId="{AD9EA23A-5796-4D4A-9976-F5BAB167F6BE}" dt="2026-05-06T12:59:21.787" v="307" actId="1037"/>
          <ac:picMkLst>
            <pc:docMk/>
            <pc:sldMk cId="341583809" sldId="256"/>
            <ac:picMk id="5" creationId="{579D4E83-D5EE-B985-F92E-CF9F6DEE1B85}"/>
          </ac:picMkLst>
        </pc:picChg>
      </pc:sldChg>
      <pc:sldChg chg="ord">
        <pc:chgData name="Ann-Sofie KahlLöfqvist" userId="4267d22e-72b6-48ad-a46b-b6050a11fbc8" providerId="ADAL" clId="{AD9EA23A-5796-4D4A-9976-F5BAB167F6BE}" dt="2026-05-06T13:03:49.004" v="433"/>
        <pc:sldMkLst>
          <pc:docMk/>
          <pc:sldMk cId="999283116" sldId="278"/>
        </pc:sldMkLst>
      </pc:sldChg>
      <pc:sldChg chg="addSp modSp mod ord">
        <pc:chgData name="Ann-Sofie KahlLöfqvist" userId="4267d22e-72b6-48ad-a46b-b6050a11fbc8" providerId="ADAL" clId="{AD9EA23A-5796-4D4A-9976-F5BAB167F6BE}" dt="2026-05-06T13:01:40.689" v="427"/>
        <pc:sldMkLst>
          <pc:docMk/>
          <pc:sldMk cId="3535693555" sldId="522"/>
        </pc:sldMkLst>
        <pc:spChg chg="mod">
          <ac:chgData name="Ann-Sofie KahlLöfqvist" userId="4267d22e-72b6-48ad-a46b-b6050a11fbc8" providerId="ADAL" clId="{AD9EA23A-5796-4D4A-9976-F5BAB167F6BE}" dt="2026-05-06T12:50:23.431" v="182" actId="27636"/>
          <ac:spMkLst>
            <pc:docMk/>
            <pc:sldMk cId="3535693555" sldId="522"/>
            <ac:spMk id="2" creationId="{B17548E5-8242-9348-A22D-C10E146BFEA0}"/>
          </ac:spMkLst>
        </pc:spChg>
        <pc:spChg chg="mod">
          <ac:chgData name="Ann-Sofie KahlLöfqvist" userId="4267d22e-72b6-48ad-a46b-b6050a11fbc8" providerId="ADAL" clId="{AD9EA23A-5796-4D4A-9976-F5BAB167F6BE}" dt="2026-05-06T12:50:14.928" v="172" actId="1036"/>
          <ac:spMkLst>
            <pc:docMk/>
            <pc:sldMk cId="3535693555" sldId="522"/>
            <ac:spMk id="3" creationId="{FA8EFA0B-DE60-4466-E70E-1865CDCD2EAA}"/>
          </ac:spMkLst>
        </pc:spChg>
        <pc:spChg chg="add mod">
          <ac:chgData name="Ann-Sofie KahlLöfqvist" userId="4267d22e-72b6-48ad-a46b-b6050a11fbc8" providerId="ADAL" clId="{AD9EA23A-5796-4D4A-9976-F5BAB167F6BE}" dt="2026-05-06T12:48:18.564" v="53" actId="1038"/>
          <ac:spMkLst>
            <pc:docMk/>
            <pc:sldMk cId="3535693555" sldId="522"/>
            <ac:spMk id="5" creationId="{1A1A69D1-8985-403C-486D-A00BF5C71D06}"/>
          </ac:spMkLst>
        </pc:spChg>
      </pc:sldChg>
      <pc:sldChg chg="del">
        <pc:chgData name="Ann-Sofie KahlLöfqvist" userId="4267d22e-72b6-48ad-a46b-b6050a11fbc8" providerId="ADAL" clId="{AD9EA23A-5796-4D4A-9976-F5BAB167F6BE}" dt="2026-05-06T13:11:01.939" v="438" actId="47"/>
        <pc:sldMkLst>
          <pc:docMk/>
          <pc:sldMk cId="794355482" sldId="524"/>
        </pc:sldMkLst>
      </pc:sldChg>
      <pc:sldChg chg="modSp add mod">
        <pc:chgData name="Ann-Sofie KahlLöfqvist" userId="4267d22e-72b6-48ad-a46b-b6050a11fbc8" providerId="ADAL" clId="{AD9EA23A-5796-4D4A-9976-F5BAB167F6BE}" dt="2026-05-06T13:17:13.235" v="523" actId="1036"/>
        <pc:sldMkLst>
          <pc:docMk/>
          <pc:sldMk cId="2357820895" sldId="533"/>
        </pc:sldMkLst>
        <pc:spChg chg="mod">
          <ac:chgData name="Ann-Sofie KahlLöfqvist" userId="4267d22e-72b6-48ad-a46b-b6050a11fbc8" providerId="ADAL" clId="{AD9EA23A-5796-4D4A-9976-F5BAB167F6BE}" dt="2026-05-06T13:05:03.814" v="435" actId="1076"/>
          <ac:spMkLst>
            <pc:docMk/>
            <pc:sldMk cId="2357820895" sldId="533"/>
            <ac:spMk id="2" creationId="{49104A68-5AC0-3B33-2683-6E731E50B0D3}"/>
          </ac:spMkLst>
        </pc:spChg>
        <pc:picChg chg="mod">
          <ac:chgData name="Ann-Sofie KahlLöfqvist" userId="4267d22e-72b6-48ad-a46b-b6050a11fbc8" providerId="ADAL" clId="{AD9EA23A-5796-4D4A-9976-F5BAB167F6BE}" dt="2026-05-06T13:17:13.235" v="523" actId="1036"/>
          <ac:picMkLst>
            <pc:docMk/>
            <pc:sldMk cId="2357820895" sldId="533"/>
            <ac:picMk id="5" creationId="{E5EB7AB2-09B8-499D-9201-EF7A843AD7C2}"/>
          </ac:picMkLst>
        </pc:picChg>
      </pc:sldChg>
      <pc:sldChg chg="del">
        <pc:chgData name="Ann-Sofie KahlLöfqvist" userId="4267d22e-72b6-48ad-a46b-b6050a11fbc8" providerId="ADAL" clId="{AD9EA23A-5796-4D4A-9976-F5BAB167F6BE}" dt="2026-05-06T12:58:25.228" v="289" actId="47"/>
        <pc:sldMkLst>
          <pc:docMk/>
          <pc:sldMk cId="1335610886" sldId="535"/>
        </pc:sldMkLst>
      </pc:sldChg>
      <pc:sldChg chg="addSp modSp mod ord">
        <pc:chgData name="Ann-Sofie KahlLöfqvist" userId="4267d22e-72b6-48ad-a46b-b6050a11fbc8" providerId="ADAL" clId="{AD9EA23A-5796-4D4A-9976-F5BAB167F6BE}" dt="2026-05-06T13:14:24.041" v="465" actId="20577"/>
        <pc:sldMkLst>
          <pc:docMk/>
          <pc:sldMk cId="3840435947" sldId="536"/>
        </pc:sldMkLst>
        <pc:spChg chg="mod">
          <ac:chgData name="Ann-Sofie KahlLöfqvist" userId="4267d22e-72b6-48ad-a46b-b6050a11fbc8" providerId="ADAL" clId="{AD9EA23A-5796-4D4A-9976-F5BAB167F6BE}" dt="2026-05-06T12:50:06.862" v="161" actId="1036"/>
          <ac:spMkLst>
            <pc:docMk/>
            <pc:sldMk cId="3840435947" sldId="536"/>
            <ac:spMk id="2" creationId="{BC921ECF-EDA1-D740-5C25-9A15151A2284}"/>
          </ac:spMkLst>
        </pc:spChg>
        <pc:spChg chg="mod">
          <ac:chgData name="Ann-Sofie KahlLöfqvist" userId="4267d22e-72b6-48ad-a46b-b6050a11fbc8" providerId="ADAL" clId="{AD9EA23A-5796-4D4A-9976-F5BAB167F6BE}" dt="2026-05-06T13:14:24.041" v="465" actId="20577"/>
          <ac:spMkLst>
            <pc:docMk/>
            <pc:sldMk cId="3840435947" sldId="536"/>
            <ac:spMk id="3" creationId="{C379A51B-5F18-FDB6-95B4-166E9320C21B}"/>
          </ac:spMkLst>
        </pc:spChg>
        <pc:spChg chg="add mod">
          <ac:chgData name="Ann-Sofie KahlLöfqvist" userId="4267d22e-72b6-48ad-a46b-b6050a11fbc8" providerId="ADAL" clId="{AD9EA23A-5796-4D4A-9976-F5BAB167F6BE}" dt="2026-05-06T12:48:38.127" v="70"/>
          <ac:spMkLst>
            <pc:docMk/>
            <pc:sldMk cId="3840435947" sldId="536"/>
            <ac:spMk id="4" creationId="{D9FA5851-6E08-CC2A-DBE7-33721B22EEC0}"/>
          </ac:spMkLst>
        </pc:spChg>
        <pc:picChg chg="mod">
          <ac:chgData name="Ann-Sofie KahlLöfqvist" userId="4267d22e-72b6-48ad-a46b-b6050a11fbc8" providerId="ADAL" clId="{AD9EA23A-5796-4D4A-9976-F5BAB167F6BE}" dt="2026-05-06T12:49:01.912" v="104" actId="1035"/>
          <ac:picMkLst>
            <pc:docMk/>
            <pc:sldMk cId="3840435947" sldId="536"/>
            <ac:picMk id="14" creationId="{FA70F336-6D29-5B1E-0CB3-B35341BFEB2D}"/>
          </ac:picMkLst>
        </pc:picChg>
      </pc:sldChg>
      <pc:sldChg chg="mod ord modShow">
        <pc:chgData name="Ann-Sofie KahlLöfqvist" userId="4267d22e-72b6-48ad-a46b-b6050a11fbc8" providerId="ADAL" clId="{AD9EA23A-5796-4D4A-9976-F5BAB167F6BE}" dt="2026-05-06T13:11:24.540" v="443" actId="34476"/>
        <pc:sldMkLst>
          <pc:docMk/>
          <pc:sldMk cId="1198961912" sldId="539"/>
        </pc:sldMkLst>
      </pc:sldChg>
      <pc:sldChg chg="del">
        <pc:chgData name="Ann-Sofie KahlLöfqvist" userId="4267d22e-72b6-48ad-a46b-b6050a11fbc8" providerId="ADAL" clId="{AD9EA23A-5796-4D4A-9976-F5BAB167F6BE}" dt="2026-05-06T13:10:56.026" v="437" actId="47"/>
        <pc:sldMkLst>
          <pc:docMk/>
          <pc:sldMk cId="1181009605" sldId="546"/>
        </pc:sldMkLst>
      </pc:sldChg>
      <pc:sldChg chg="del">
        <pc:chgData name="Ann-Sofie KahlLöfqvist" userId="4267d22e-72b6-48ad-a46b-b6050a11fbc8" providerId="ADAL" clId="{AD9EA23A-5796-4D4A-9976-F5BAB167F6BE}" dt="2026-05-06T13:11:01.939" v="438" actId="47"/>
        <pc:sldMkLst>
          <pc:docMk/>
          <pc:sldMk cId="2738316705" sldId="548"/>
        </pc:sldMkLst>
      </pc:sldChg>
      <pc:sldChg chg="del">
        <pc:chgData name="Ann-Sofie KahlLöfqvist" userId="4267d22e-72b6-48ad-a46b-b6050a11fbc8" providerId="ADAL" clId="{AD9EA23A-5796-4D4A-9976-F5BAB167F6BE}" dt="2026-05-06T13:11:01.939" v="438" actId="47"/>
        <pc:sldMkLst>
          <pc:docMk/>
          <pc:sldMk cId="1806744884" sldId="549"/>
        </pc:sldMkLst>
      </pc:sldChg>
      <pc:sldChg chg="modSp mod ord">
        <pc:chgData name="Ann-Sofie KahlLöfqvist" userId="4267d22e-72b6-48ad-a46b-b6050a11fbc8" providerId="ADAL" clId="{AD9EA23A-5796-4D4A-9976-F5BAB167F6BE}" dt="2026-05-06T13:03:41.774" v="431"/>
        <pc:sldMkLst>
          <pc:docMk/>
          <pc:sldMk cId="1154378917" sldId="550"/>
        </pc:sldMkLst>
        <pc:spChg chg="mod">
          <ac:chgData name="Ann-Sofie KahlLöfqvist" userId="4267d22e-72b6-48ad-a46b-b6050a11fbc8" providerId="ADAL" clId="{AD9EA23A-5796-4D4A-9976-F5BAB167F6BE}" dt="2026-05-06T12:51:34.254" v="273" actId="1036"/>
          <ac:spMkLst>
            <pc:docMk/>
            <pc:sldMk cId="1154378917" sldId="550"/>
            <ac:spMk id="2" creationId="{8C671566-7232-360D-49E0-7E233D29AD3B}"/>
          </ac:spMkLst>
        </pc:spChg>
        <pc:spChg chg="mod">
          <ac:chgData name="Ann-Sofie KahlLöfqvist" userId="4267d22e-72b6-48ad-a46b-b6050a11fbc8" providerId="ADAL" clId="{AD9EA23A-5796-4D4A-9976-F5BAB167F6BE}" dt="2026-05-06T12:51:20.802" v="253" actId="1037"/>
          <ac:spMkLst>
            <pc:docMk/>
            <pc:sldMk cId="1154378917" sldId="550"/>
            <ac:spMk id="3" creationId="{4B3D0366-E1BA-B283-E2C1-AC2FA5235A90}"/>
          </ac:spMkLst>
        </pc:spChg>
        <pc:picChg chg="mod">
          <ac:chgData name="Ann-Sofie KahlLöfqvist" userId="4267d22e-72b6-48ad-a46b-b6050a11fbc8" providerId="ADAL" clId="{AD9EA23A-5796-4D4A-9976-F5BAB167F6BE}" dt="2026-05-06T12:51:27.066" v="258" actId="1035"/>
          <ac:picMkLst>
            <pc:docMk/>
            <pc:sldMk cId="1154378917" sldId="550"/>
            <ac:picMk id="4" creationId="{7512E51A-6235-8CB1-7720-ECB2C3E65A0F}"/>
          </ac:picMkLst>
        </pc:picChg>
      </pc:sldChg>
      <pc:sldChg chg="del">
        <pc:chgData name="Ann-Sofie KahlLöfqvist" userId="4267d22e-72b6-48ad-a46b-b6050a11fbc8" providerId="ADAL" clId="{AD9EA23A-5796-4D4A-9976-F5BAB167F6BE}" dt="2026-05-06T12:45:53.750" v="0" actId="47"/>
        <pc:sldMkLst>
          <pc:docMk/>
          <pc:sldMk cId="1137720368" sldId="552"/>
        </pc:sldMkLst>
      </pc:sldChg>
      <pc:sldChg chg="modSp mod">
        <pc:chgData name="Ann-Sofie KahlLöfqvist" userId="4267d22e-72b6-48ad-a46b-b6050a11fbc8" providerId="ADAL" clId="{AD9EA23A-5796-4D4A-9976-F5BAB167F6BE}" dt="2026-05-06T12:47:17.868" v="34" actId="20577"/>
        <pc:sldMkLst>
          <pc:docMk/>
          <pc:sldMk cId="3070834752" sldId="553"/>
        </pc:sldMkLst>
        <pc:spChg chg="mod">
          <ac:chgData name="Ann-Sofie KahlLöfqvist" userId="4267d22e-72b6-48ad-a46b-b6050a11fbc8" providerId="ADAL" clId="{AD9EA23A-5796-4D4A-9976-F5BAB167F6BE}" dt="2026-05-06T12:47:17.868" v="34" actId="20577"/>
          <ac:spMkLst>
            <pc:docMk/>
            <pc:sldMk cId="3070834752" sldId="553"/>
            <ac:spMk id="2" creationId="{66F41F0C-009E-5698-7EED-88773B1012DD}"/>
          </ac:spMkLst>
        </pc:spChg>
      </pc:sldChg>
      <pc:sldChg chg="modSp mod">
        <pc:chgData name="Ann-Sofie KahlLöfqvist" userId="4267d22e-72b6-48ad-a46b-b6050a11fbc8" providerId="ADAL" clId="{AD9EA23A-5796-4D4A-9976-F5BAB167F6BE}" dt="2026-05-06T13:15:45.329" v="487" actId="20577"/>
        <pc:sldMkLst>
          <pc:docMk/>
          <pc:sldMk cId="876358817" sldId="554"/>
        </pc:sldMkLst>
        <pc:spChg chg="mod">
          <ac:chgData name="Ann-Sofie KahlLöfqvist" userId="4267d22e-72b6-48ad-a46b-b6050a11fbc8" providerId="ADAL" clId="{AD9EA23A-5796-4D4A-9976-F5BAB167F6BE}" dt="2026-05-06T13:15:45.329" v="487" actId="20577"/>
          <ac:spMkLst>
            <pc:docMk/>
            <pc:sldMk cId="876358817" sldId="554"/>
            <ac:spMk id="2" creationId="{66B9E312-1893-9BA2-4096-842F612E95E4}"/>
          </ac:spMkLst>
        </pc:spChg>
      </pc:sldChg>
      <pc:sldChg chg="del">
        <pc:chgData name="Ann-Sofie KahlLöfqvist" userId="4267d22e-72b6-48ad-a46b-b6050a11fbc8" providerId="ADAL" clId="{AD9EA23A-5796-4D4A-9976-F5BAB167F6BE}" dt="2026-05-06T13:10:53.634" v="436" actId="47"/>
        <pc:sldMkLst>
          <pc:docMk/>
          <pc:sldMk cId="4045732159" sldId="555"/>
        </pc:sldMkLst>
      </pc:sldChg>
      <pc:sldChg chg="del">
        <pc:chgData name="Ann-Sofie KahlLöfqvist" userId="4267d22e-72b6-48ad-a46b-b6050a11fbc8" providerId="ADAL" clId="{AD9EA23A-5796-4D4A-9976-F5BAB167F6BE}" dt="2026-05-06T13:11:01.939" v="438" actId="47"/>
        <pc:sldMkLst>
          <pc:docMk/>
          <pc:sldMk cId="620491597" sldId="556"/>
        </pc:sldMkLst>
      </pc:sldChg>
      <pc:sldChg chg="mod modShow">
        <pc:chgData name="Ann-Sofie KahlLöfqvist" userId="4267d22e-72b6-48ad-a46b-b6050a11fbc8" providerId="ADAL" clId="{AD9EA23A-5796-4D4A-9976-F5BAB167F6BE}" dt="2026-05-06T13:11:13.386" v="440" actId="729"/>
        <pc:sldMkLst>
          <pc:docMk/>
          <pc:sldMk cId="33372943" sldId="558"/>
        </pc:sldMkLst>
      </pc:sldChg>
      <pc:sldChg chg="del">
        <pc:chgData name="Ann-Sofie KahlLöfqvist" userId="4267d22e-72b6-48ad-a46b-b6050a11fbc8" providerId="ADAL" clId="{AD9EA23A-5796-4D4A-9976-F5BAB167F6BE}" dt="2026-05-06T13:11:01.939" v="438" actId="47"/>
        <pc:sldMkLst>
          <pc:docMk/>
          <pc:sldMk cId="550710157" sldId="559"/>
        </pc:sldMkLst>
      </pc:sldChg>
      <pc:sldChg chg="addSp delSp modSp add del mod">
        <pc:chgData name="Ann-Sofie KahlLöfqvist" userId="4267d22e-72b6-48ad-a46b-b6050a11fbc8" providerId="ADAL" clId="{AD9EA23A-5796-4D4A-9976-F5BAB167F6BE}" dt="2026-05-06T12:58:23.504" v="288" actId="47"/>
        <pc:sldMkLst>
          <pc:docMk/>
          <pc:sldMk cId="1593966444" sldId="560"/>
        </pc:sldMkLst>
        <pc:spChg chg="del">
          <ac:chgData name="Ann-Sofie KahlLöfqvist" userId="4267d22e-72b6-48ad-a46b-b6050a11fbc8" providerId="ADAL" clId="{AD9EA23A-5796-4D4A-9976-F5BAB167F6BE}" dt="2026-05-06T12:55:49.671" v="275" actId="478"/>
          <ac:spMkLst>
            <pc:docMk/>
            <pc:sldMk cId="1593966444" sldId="560"/>
            <ac:spMk id="2" creationId="{0B76EAFC-430A-73A7-4769-7CABAEA928A3}"/>
          </ac:spMkLst>
        </pc:spChg>
        <pc:spChg chg="del">
          <ac:chgData name="Ann-Sofie KahlLöfqvist" userId="4267d22e-72b6-48ad-a46b-b6050a11fbc8" providerId="ADAL" clId="{AD9EA23A-5796-4D4A-9976-F5BAB167F6BE}" dt="2026-05-06T12:55:52.664" v="276" actId="478"/>
          <ac:spMkLst>
            <pc:docMk/>
            <pc:sldMk cId="1593966444" sldId="560"/>
            <ac:spMk id="3" creationId="{FF16851F-5068-F3B8-32DE-21A5E32AB8A4}"/>
          </ac:spMkLst>
        </pc:spChg>
        <pc:spChg chg="add del mod">
          <ac:chgData name="Ann-Sofie KahlLöfqvist" userId="4267d22e-72b6-48ad-a46b-b6050a11fbc8" providerId="ADAL" clId="{AD9EA23A-5796-4D4A-9976-F5BAB167F6BE}" dt="2026-05-06T12:56:12.442" v="278" actId="478"/>
          <ac:spMkLst>
            <pc:docMk/>
            <pc:sldMk cId="1593966444" sldId="560"/>
            <ac:spMk id="6" creationId="{3825ECB2-21E7-9996-65FB-19B821850B3C}"/>
          </ac:spMkLst>
        </pc:spChg>
        <pc:spChg chg="add del mod">
          <ac:chgData name="Ann-Sofie KahlLöfqvist" userId="4267d22e-72b6-48ad-a46b-b6050a11fbc8" providerId="ADAL" clId="{AD9EA23A-5796-4D4A-9976-F5BAB167F6BE}" dt="2026-05-06T12:56:16.878" v="280" actId="478"/>
          <ac:spMkLst>
            <pc:docMk/>
            <pc:sldMk cId="1593966444" sldId="560"/>
            <ac:spMk id="8" creationId="{95E4F77E-A0ED-425B-1E17-EC4B9A75C79F}"/>
          </ac:spMkLst>
        </pc:spChg>
        <pc:spChg chg="add del mod">
          <ac:chgData name="Ann-Sofie KahlLöfqvist" userId="4267d22e-72b6-48ad-a46b-b6050a11fbc8" providerId="ADAL" clId="{AD9EA23A-5796-4D4A-9976-F5BAB167F6BE}" dt="2026-05-06T12:56:31.414" v="282" actId="478"/>
          <ac:spMkLst>
            <pc:docMk/>
            <pc:sldMk cId="1593966444" sldId="560"/>
            <ac:spMk id="10" creationId="{08BC500D-075E-6DD1-5619-9275B807A653}"/>
          </ac:spMkLst>
        </pc:spChg>
        <pc:spChg chg="add mod">
          <ac:chgData name="Ann-Sofie KahlLöfqvist" userId="4267d22e-72b6-48ad-a46b-b6050a11fbc8" providerId="ADAL" clId="{AD9EA23A-5796-4D4A-9976-F5BAB167F6BE}" dt="2026-05-06T12:56:14.537" v="279"/>
          <ac:spMkLst>
            <pc:docMk/>
            <pc:sldMk cId="1593966444" sldId="560"/>
            <ac:spMk id="11" creationId="{4480BB5F-5F3C-1F62-0A54-B3D7376C5DC1}"/>
          </ac:spMkLst>
        </pc:spChg>
        <pc:spChg chg="add mod">
          <ac:chgData name="Ann-Sofie KahlLöfqvist" userId="4267d22e-72b6-48ad-a46b-b6050a11fbc8" providerId="ADAL" clId="{AD9EA23A-5796-4D4A-9976-F5BAB167F6BE}" dt="2026-05-06T12:56:24.310" v="281"/>
          <ac:spMkLst>
            <pc:docMk/>
            <pc:sldMk cId="1593966444" sldId="560"/>
            <ac:spMk id="12" creationId="{8AEEC6C8-77D2-B686-3172-9AADE11DD4B5}"/>
          </ac:spMkLst>
        </pc:spChg>
        <pc:picChg chg="add mod">
          <ac:chgData name="Ann-Sofie KahlLöfqvist" userId="4267d22e-72b6-48ad-a46b-b6050a11fbc8" providerId="ADAL" clId="{AD9EA23A-5796-4D4A-9976-F5BAB167F6BE}" dt="2026-05-06T12:56:42.223" v="283"/>
          <ac:picMkLst>
            <pc:docMk/>
            <pc:sldMk cId="1593966444" sldId="560"/>
            <ac:picMk id="13" creationId="{2D4930CE-98C5-CD1D-F983-FFBCDFCCAA2D}"/>
          </ac:picMkLst>
        </pc:picChg>
        <pc:picChg chg="del">
          <ac:chgData name="Ann-Sofie KahlLöfqvist" userId="4267d22e-72b6-48ad-a46b-b6050a11fbc8" providerId="ADAL" clId="{AD9EA23A-5796-4D4A-9976-F5BAB167F6BE}" dt="2026-05-06T12:55:56.784" v="277" actId="478"/>
          <ac:picMkLst>
            <pc:docMk/>
            <pc:sldMk cId="1593966444" sldId="560"/>
            <ac:picMk id="14" creationId="{F788250B-8402-EC50-787B-213AA30ED76B}"/>
          </ac:picMkLst>
        </pc:picChg>
        <pc:picChg chg="add mod">
          <ac:chgData name="Ann-Sofie KahlLöfqvist" userId="4267d22e-72b6-48ad-a46b-b6050a11fbc8" providerId="ADAL" clId="{AD9EA23A-5796-4D4A-9976-F5BAB167F6BE}" dt="2026-05-06T12:56:42.223" v="283"/>
          <ac:picMkLst>
            <pc:docMk/>
            <pc:sldMk cId="1593966444" sldId="560"/>
            <ac:picMk id="15" creationId="{000E4C02-C5DE-2822-6774-49F02EBBE5EC}"/>
          </ac:picMkLst>
        </pc:picChg>
        <pc:picChg chg="add mod">
          <ac:chgData name="Ann-Sofie KahlLöfqvist" userId="4267d22e-72b6-48ad-a46b-b6050a11fbc8" providerId="ADAL" clId="{AD9EA23A-5796-4D4A-9976-F5BAB167F6BE}" dt="2026-05-06T12:56:42.223" v="283"/>
          <ac:picMkLst>
            <pc:docMk/>
            <pc:sldMk cId="1593966444" sldId="560"/>
            <ac:picMk id="16" creationId="{1BFE57F6-38EC-168F-EDA9-AB88BEF002F8}"/>
          </ac:picMkLst>
        </pc:picChg>
      </pc:sldChg>
      <pc:sldChg chg="addSp new mod ord">
        <pc:chgData name="Ann-Sofie KahlLöfqvist" userId="4267d22e-72b6-48ad-a46b-b6050a11fbc8" providerId="ADAL" clId="{AD9EA23A-5796-4D4A-9976-F5BAB167F6BE}" dt="2026-05-06T12:58:21.167" v="287"/>
        <pc:sldMkLst>
          <pc:docMk/>
          <pc:sldMk cId="4101235963" sldId="561"/>
        </pc:sldMkLst>
        <pc:picChg chg="add">
          <ac:chgData name="Ann-Sofie KahlLöfqvist" userId="4267d22e-72b6-48ad-a46b-b6050a11fbc8" providerId="ADAL" clId="{AD9EA23A-5796-4D4A-9976-F5BAB167F6BE}" dt="2026-05-06T12:58:14.501" v="285" actId="22"/>
          <ac:picMkLst>
            <pc:docMk/>
            <pc:sldMk cId="4101235963" sldId="561"/>
            <ac:picMk id="3" creationId="{3FF84E88-7DB5-D306-877C-FC96FE08D3F9}"/>
          </ac:picMkLst>
        </pc:picChg>
      </pc:sldChg>
      <pc:sldMasterChg chg="delSldLayout">
        <pc:chgData name="Ann-Sofie KahlLöfqvist" userId="4267d22e-72b6-48ad-a46b-b6050a11fbc8" providerId="ADAL" clId="{AD9EA23A-5796-4D4A-9976-F5BAB167F6BE}" dt="2026-05-06T12:58:25.228" v="289" actId="47"/>
        <pc:sldMasterMkLst>
          <pc:docMk/>
          <pc:sldMasterMk cId="917503687" sldId="2147483648"/>
        </pc:sldMasterMkLst>
        <pc:sldLayoutChg chg="del">
          <pc:chgData name="Ann-Sofie KahlLöfqvist" userId="4267d22e-72b6-48ad-a46b-b6050a11fbc8" providerId="ADAL" clId="{AD9EA23A-5796-4D4A-9976-F5BAB167F6BE}" dt="2026-05-06T12:58:25.228" v="289" actId="47"/>
          <pc:sldLayoutMkLst>
            <pc:docMk/>
            <pc:sldMasterMk cId="917503687" sldId="2147483648"/>
            <pc:sldLayoutMk cId="1494033851" sldId="2147483696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118C5F-93F2-42C8-9634-9D84965F10F9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EAF717-A70A-4FE7-8FBC-17424440763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32188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EAF717-A70A-4FE7-8FBC-17424440763D}" type="slidenum">
              <a:rPr lang="sv-SE" smtClean="0"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820469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EAF717-A70A-4FE7-8FBC-17424440763D}" type="slidenum">
              <a:rPr lang="sv-SE" smtClean="0"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4322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sv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4B1A116C-959D-D58E-C739-93ABE78AD6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3775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1A116C-959D-D58E-C739-93ABE78AD6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>
            <a:extLst>
              <a:ext uri="{FF2B5EF4-FFF2-40B4-BE49-F238E27FC236}">
                <a16:creationId xmlns:a16="http://schemas.microsoft.com/office/drawing/2014/main" id="{8D88B72A-1E86-5E07-1A19-00A3EC71AAC8}"/>
              </a:ext>
            </a:extLst>
          </p:cNvPr>
          <p:cNvSpPr/>
          <p:nvPr userDrawn="1"/>
        </p:nvSpPr>
        <p:spPr>
          <a:xfrm>
            <a:off x="0" y="0"/>
            <a:ext cx="12191999" cy="6891338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EDA663A2-8350-4C25-DD9E-19F8C01F021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036763"/>
            <a:ext cx="9144000" cy="2387600"/>
          </a:xfrm>
        </p:spPr>
        <p:txBody>
          <a:bodyPr vert="horz"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A40CD99C-4557-0D7B-8399-FED53F42ED5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5164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  <a:endParaRPr lang="sv-SE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87B80BC-E124-C618-5ACF-D59D1C0E17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81BFB3DE-668A-A2A2-CF3E-07FBB4424E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60DFBDC7-2145-653E-08C1-E883ED0E7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51B90E7E-C31A-3112-84C0-A08DC0BEC0C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1899" y="345507"/>
            <a:ext cx="1354809" cy="469039"/>
          </a:xfrm>
          <a:prstGeom prst="rect">
            <a:avLst/>
          </a:prstGeom>
        </p:spPr>
      </p:pic>
      <p:cxnSp>
        <p:nvCxnSpPr>
          <p:cNvPr id="9" name="Rak 8">
            <a:extLst>
              <a:ext uri="{FF2B5EF4-FFF2-40B4-BE49-F238E27FC236}">
                <a16:creationId xmlns:a16="http://schemas.microsoft.com/office/drawing/2014/main" id="{A9E10D1F-31D0-7656-C54E-EB7B6642DC38}"/>
              </a:ext>
            </a:extLst>
          </p:cNvPr>
          <p:cNvCxnSpPr>
            <a:cxnSpLocks/>
          </p:cNvCxnSpPr>
          <p:nvPr userDrawn="1"/>
        </p:nvCxnSpPr>
        <p:spPr>
          <a:xfrm flipV="1">
            <a:off x="321899" y="964647"/>
            <a:ext cx="11539901" cy="386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35654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sida sv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4188400F-3126-7990-7F2E-10959D5D7582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09BD29B-99FD-6112-056E-78AC01B5C6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63863" y="1527534"/>
            <a:ext cx="7768792" cy="4771448"/>
          </a:xfrm>
        </p:spPr>
        <p:txBody>
          <a:bodyPr anchor="ctr">
            <a:normAutofit/>
          </a:bodyPr>
          <a:lstStyle>
            <a:lvl1pPr marL="0" indent="0">
              <a:buNone/>
              <a:defRPr sz="4400" b="1">
                <a:solidFill>
                  <a:schemeClr val="bg1"/>
                </a:solidFill>
              </a:defRPr>
            </a:lvl1pPr>
            <a:lvl2pPr>
              <a:defRPr sz="4400"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FBFF8E6-08EC-08EF-4868-314783205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5DE121B-7B73-1CEC-54D8-01BE602AD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8F569B7-261E-22EE-2183-1AB7F6143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D198D43C-1EC4-A824-6495-EDC25BFF3C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1899" y="345507"/>
            <a:ext cx="1354809" cy="469039"/>
          </a:xfrm>
          <a:prstGeom prst="rect">
            <a:avLst/>
          </a:prstGeom>
        </p:spPr>
      </p:pic>
      <p:cxnSp>
        <p:nvCxnSpPr>
          <p:cNvPr id="8" name="Rak 8">
            <a:extLst>
              <a:ext uri="{FF2B5EF4-FFF2-40B4-BE49-F238E27FC236}">
                <a16:creationId xmlns:a16="http://schemas.microsoft.com/office/drawing/2014/main" id="{7DE07047-1F41-F8F3-5B05-2EB7957011C9}"/>
              </a:ext>
            </a:extLst>
          </p:cNvPr>
          <p:cNvCxnSpPr>
            <a:cxnSpLocks/>
          </p:cNvCxnSpPr>
          <p:nvPr userDrawn="1"/>
        </p:nvCxnSpPr>
        <p:spPr>
          <a:xfrm flipV="1">
            <a:off x="321899" y="964647"/>
            <a:ext cx="11539901" cy="386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73146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sida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09BD29B-99FD-6112-056E-78AC01B5C6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63863" y="1527534"/>
            <a:ext cx="7768792" cy="4771448"/>
          </a:xfrm>
        </p:spPr>
        <p:txBody>
          <a:bodyPr anchor="ctr">
            <a:normAutofit/>
          </a:bodyPr>
          <a:lstStyle>
            <a:lvl1pPr marL="0" indent="0">
              <a:buNone/>
              <a:defRPr sz="4400" b="1">
                <a:solidFill>
                  <a:schemeClr val="tx1"/>
                </a:solidFill>
              </a:defRPr>
            </a:lvl1pPr>
            <a:lvl2pPr>
              <a:defRPr sz="4400" b="1">
                <a:solidFill>
                  <a:schemeClr val="tx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FBFF8E6-08EC-08EF-4868-314783205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5DE121B-7B73-1CEC-54D8-01BE602AD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8F569B7-261E-22EE-2183-1AB7F6143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31636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 och 2 bilder hö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9EB0AA8-FF6D-84E0-AB6E-E08699CD8F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5848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EB0AA8-FF6D-84E0-AB6E-E08699CD8F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FBFF8E6-08EC-08EF-4868-314783205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5DE121B-7B73-1CEC-54D8-01BE602AD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8F569B7-261E-22EE-2183-1AB7F6143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  <p:sp>
        <p:nvSpPr>
          <p:cNvPr id="8" name="Platshållare för bild 7">
            <a:extLst>
              <a:ext uri="{FF2B5EF4-FFF2-40B4-BE49-F238E27FC236}">
                <a16:creationId xmlns:a16="http://schemas.microsoft.com/office/drawing/2014/main" id="{7A54D941-016C-A429-B73F-0477CDC70E1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228138" y="1160464"/>
            <a:ext cx="2620185" cy="259873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10" name="Rubrik 9">
            <a:extLst>
              <a:ext uri="{FF2B5EF4-FFF2-40B4-BE49-F238E27FC236}">
                <a16:creationId xmlns:a16="http://schemas.microsoft.com/office/drawing/2014/main" id="{00F30730-55AA-D8F3-0F42-737B8B58A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677" y="1237096"/>
            <a:ext cx="8560178" cy="753404"/>
          </a:xfrm>
        </p:spPr>
        <p:txBody>
          <a:bodyPr vert="horz"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83B0DAE6-A35D-06AA-3AED-867834C556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3676" y="2218228"/>
            <a:ext cx="8560180" cy="4163522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2" name="Platshållare för bild 7">
            <a:extLst>
              <a:ext uri="{FF2B5EF4-FFF2-40B4-BE49-F238E27FC236}">
                <a16:creationId xmlns:a16="http://schemas.microsoft.com/office/drawing/2014/main" id="{06501F31-84EE-851C-0C78-6F4A0F89601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228138" y="3759200"/>
            <a:ext cx="2620185" cy="262009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38144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 en 1/2 bild hö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9EB0AA8-FF6D-84E0-AB6E-E08699CD8F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4547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EB0AA8-FF6D-84E0-AB6E-E08699CD8F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FBFF8E6-08EC-08EF-4868-314783205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5DE121B-7B73-1CEC-54D8-01BE602AD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8F569B7-261E-22EE-2183-1AB7F6143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  <p:sp>
        <p:nvSpPr>
          <p:cNvPr id="8" name="Platshållare för bild 7">
            <a:extLst>
              <a:ext uri="{FF2B5EF4-FFF2-40B4-BE49-F238E27FC236}">
                <a16:creationId xmlns:a16="http://schemas.microsoft.com/office/drawing/2014/main" id="{7A54D941-016C-A429-B73F-0477CDC70E1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1160463"/>
            <a:ext cx="5752323" cy="52212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10" name="Rubrik 9">
            <a:extLst>
              <a:ext uri="{FF2B5EF4-FFF2-40B4-BE49-F238E27FC236}">
                <a16:creationId xmlns:a16="http://schemas.microsoft.com/office/drawing/2014/main" id="{00F30730-55AA-D8F3-0F42-737B8B58A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677" y="1237096"/>
            <a:ext cx="5429050" cy="753404"/>
          </a:xfrm>
        </p:spPr>
        <p:txBody>
          <a:bodyPr vert="horz"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83B0DAE6-A35D-06AA-3AED-867834C556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3676" y="2218228"/>
            <a:ext cx="5429051" cy="4163522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427581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 en 2/3 bild hö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9EB0AA8-FF6D-84E0-AB6E-E08699CD8F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8931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EB0AA8-FF6D-84E0-AB6E-E08699CD8F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FBFF8E6-08EC-08EF-4868-314783205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5DE121B-7B73-1CEC-54D8-01BE602AD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8F569B7-261E-22EE-2183-1AB7F6143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  <p:sp>
        <p:nvSpPr>
          <p:cNvPr id="8" name="Platshållare för bild 7">
            <a:extLst>
              <a:ext uri="{FF2B5EF4-FFF2-40B4-BE49-F238E27FC236}">
                <a16:creationId xmlns:a16="http://schemas.microsoft.com/office/drawing/2014/main" id="{7A54D941-016C-A429-B73F-0477CDC70E1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963864" y="1160463"/>
            <a:ext cx="8884460" cy="52212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10" name="Rubrik 9">
            <a:extLst>
              <a:ext uri="{FF2B5EF4-FFF2-40B4-BE49-F238E27FC236}">
                <a16:creationId xmlns:a16="http://schemas.microsoft.com/office/drawing/2014/main" id="{00F30730-55AA-D8F3-0F42-737B8B58A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677" y="1237096"/>
            <a:ext cx="2482650" cy="753404"/>
          </a:xfrm>
        </p:spPr>
        <p:txBody>
          <a:bodyPr vert="horz"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83B0DAE6-A35D-06AA-3AED-867834C556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3676" y="2218228"/>
            <a:ext cx="2482650" cy="4163522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879394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 (grå) en 1/2 bild hö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9EB0AA8-FF6D-84E0-AB6E-E08699CD8F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9734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EB0AA8-FF6D-84E0-AB6E-E08699CD8F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>
            <a:extLst>
              <a:ext uri="{FF2B5EF4-FFF2-40B4-BE49-F238E27FC236}">
                <a16:creationId xmlns:a16="http://schemas.microsoft.com/office/drawing/2014/main" id="{C36BD4E3-41C4-182E-FF0C-DA307A325022}"/>
              </a:ext>
            </a:extLst>
          </p:cNvPr>
          <p:cNvSpPr/>
          <p:nvPr userDrawn="1"/>
        </p:nvSpPr>
        <p:spPr>
          <a:xfrm>
            <a:off x="343676" y="1160463"/>
            <a:ext cx="5752324" cy="522128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FBFF8E6-08EC-08EF-4868-314783205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5DE121B-7B73-1CEC-54D8-01BE602AD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8F569B7-261E-22EE-2183-1AB7F6143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  <p:sp>
        <p:nvSpPr>
          <p:cNvPr id="8" name="Platshållare för bild 7">
            <a:extLst>
              <a:ext uri="{FF2B5EF4-FFF2-40B4-BE49-F238E27FC236}">
                <a16:creationId xmlns:a16="http://schemas.microsoft.com/office/drawing/2014/main" id="{7A54D941-016C-A429-B73F-0477CDC70E1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1160463"/>
            <a:ext cx="5761038" cy="52212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10" name="Rubrik 9">
            <a:extLst>
              <a:ext uri="{FF2B5EF4-FFF2-40B4-BE49-F238E27FC236}">
                <a16:creationId xmlns:a16="http://schemas.microsoft.com/office/drawing/2014/main" id="{00F30730-55AA-D8F3-0F42-737B8B58A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294" y="1237096"/>
            <a:ext cx="5357090" cy="753404"/>
          </a:xfrm>
        </p:spPr>
        <p:txBody>
          <a:bodyPr vert="horz"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83B0DAE6-A35D-06AA-3AED-867834C556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1293" y="2218228"/>
            <a:ext cx="5357091" cy="403479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622999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bild och text mitten (mediu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9EB0AA8-FF6D-84E0-AB6E-E08699CD8F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2250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EB0AA8-FF6D-84E0-AB6E-E08699CD8F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FBFF8E6-08EC-08EF-4868-314783205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5DE121B-7B73-1CEC-54D8-01BE602AD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8F569B7-261E-22EE-2183-1AB7F6143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  <p:sp>
        <p:nvSpPr>
          <p:cNvPr id="8" name="Platshållare för bild 7">
            <a:extLst>
              <a:ext uri="{FF2B5EF4-FFF2-40B4-BE49-F238E27FC236}">
                <a16:creationId xmlns:a16="http://schemas.microsoft.com/office/drawing/2014/main" id="{7A54D941-016C-A429-B73F-0477CDC70E1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1160463"/>
            <a:ext cx="4392611" cy="52212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10" name="Rubrik 9">
            <a:extLst>
              <a:ext uri="{FF2B5EF4-FFF2-40B4-BE49-F238E27FC236}">
                <a16:creationId xmlns:a16="http://schemas.microsoft.com/office/drawing/2014/main" id="{00F30730-55AA-D8F3-0F42-737B8B58A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03388" y="1237096"/>
            <a:ext cx="4114799" cy="753404"/>
          </a:xfrm>
        </p:spPr>
        <p:txBody>
          <a:bodyPr vert="horz"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83B0DAE6-A35D-06AA-3AED-867834C556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03388" y="2218228"/>
            <a:ext cx="4114800" cy="4163522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350850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yra bilder m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BE87113-9F31-2B0C-930E-2EEF3966CC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3175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BE87113-9F31-2B0C-930E-2EEF3966CC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FBFF8E6-08EC-08EF-4868-314783205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5DE121B-7B73-1CEC-54D8-01BE602AD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8F569B7-261E-22EE-2183-1AB7F6143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  <p:sp>
        <p:nvSpPr>
          <p:cNvPr id="8" name="Platshållare för bild 7">
            <a:extLst>
              <a:ext uri="{FF2B5EF4-FFF2-40B4-BE49-F238E27FC236}">
                <a16:creationId xmlns:a16="http://schemas.microsoft.com/office/drawing/2014/main" id="{FBC5E198-BDDE-87DD-3FE7-1779C93432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34963" y="3949123"/>
            <a:ext cx="2880000" cy="2432627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16" name="Platshållare för bild 7">
            <a:extLst>
              <a:ext uri="{FF2B5EF4-FFF2-40B4-BE49-F238E27FC236}">
                <a16:creationId xmlns:a16="http://schemas.microsoft.com/office/drawing/2014/main" id="{A8AA784B-4FFD-0356-CA89-A4A98F7893B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15654" y="3949123"/>
            <a:ext cx="2880000" cy="2432627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17" name="Platshållare för bild 7">
            <a:extLst>
              <a:ext uri="{FF2B5EF4-FFF2-40B4-BE49-F238E27FC236}">
                <a16:creationId xmlns:a16="http://schemas.microsoft.com/office/drawing/2014/main" id="{4A294818-2F01-3053-AAD5-75BDDB2C06F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96345" y="3949123"/>
            <a:ext cx="2880000" cy="2432627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18" name="Platshållare för bild 7">
            <a:extLst>
              <a:ext uri="{FF2B5EF4-FFF2-40B4-BE49-F238E27FC236}">
                <a16:creationId xmlns:a16="http://schemas.microsoft.com/office/drawing/2014/main" id="{61BB1719-35C4-909C-8149-E5880F7A8C1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77037" y="3949123"/>
            <a:ext cx="2880000" cy="2432627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20" name="Platshållare för innehåll 2">
            <a:extLst>
              <a:ext uri="{FF2B5EF4-FFF2-40B4-BE49-F238E27FC236}">
                <a16:creationId xmlns:a16="http://schemas.microsoft.com/office/drawing/2014/main" id="{F1F444D1-2CF7-3E18-8EAC-E37C9504F928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4631533" y="1237096"/>
            <a:ext cx="7044530" cy="1325564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9" name="Rubrik 8">
            <a:extLst>
              <a:ext uri="{FF2B5EF4-FFF2-40B4-BE49-F238E27FC236}">
                <a16:creationId xmlns:a16="http://schemas.microsoft.com/office/drawing/2014/main" id="{4B0D282A-5465-74AC-7379-540963035F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677" y="1237096"/>
            <a:ext cx="3694923" cy="753404"/>
          </a:xfrm>
        </p:spPr>
        <p:txBody>
          <a:bodyPr vert="horz"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62339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4EA5BB8-8C5F-52F8-6102-95010EF6F8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739F8E-2D34-1779-3AA5-99B8FFA6BB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CE23638B-D310-162F-B7E5-4B7D185FE1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0AA5AA3-CF41-B8A8-C8AD-71C239515E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625481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14C13BF1-488A-9523-C2C8-6175A20E39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E121801E-5849-6443-7DB2-0927D39000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B81FFAC-C191-F0F0-910D-DBC4620E3D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300616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4B1A116C-959D-D58E-C739-93ABE78AD6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3775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1A116C-959D-D58E-C739-93ABE78AD6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EDA663A2-8350-4C25-DD9E-19F8C01F021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087563"/>
            <a:ext cx="9144000" cy="2387600"/>
          </a:xfrm>
        </p:spPr>
        <p:txBody>
          <a:bodyPr vert="horz" anchor="b"/>
          <a:lstStyle>
            <a:lvl1pPr algn="ctr">
              <a:defRPr sz="60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A40CD99C-4557-0D7B-8399-FED53F42ED5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5672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  <a:endParaRPr lang="sv-SE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87B80BC-E124-C618-5ACF-D59D1C0E17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81BFB3DE-668A-A2A2-CF3E-07FBB4424E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60DFBDC7-2145-653E-08C1-E883ED0E7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  <p:cxnSp>
        <p:nvCxnSpPr>
          <p:cNvPr id="9" name="Rak 8">
            <a:extLst>
              <a:ext uri="{FF2B5EF4-FFF2-40B4-BE49-F238E27FC236}">
                <a16:creationId xmlns:a16="http://schemas.microsoft.com/office/drawing/2014/main" id="{A9E10D1F-31D0-7656-C54E-EB7B6642DC38}"/>
              </a:ext>
            </a:extLst>
          </p:cNvPr>
          <p:cNvCxnSpPr>
            <a:cxnSpLocks/>
          </p:cNvCxnSpPr>
          <p:nvPr userDrawn="1"/>
        </p:nvCxnSpPr>
        <p:spPr>
          <a:xfrm flipV="1">
            <a:off x="321899" y="964647"/>
            <a:ext cx="11539901" cy="386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07863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s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E011183F-596D-C7DE-4FBC-AC173692F0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1160463"/>
            <a:ext cx="11522075" cy="5221287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sv-SE" dirty="0"/>
              <a:t> </a:t>
            </a:r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C904E0E-1725-93DB-676B-2556C69A3A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015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904E0E-1725-93DB-676B-2556C69A3A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FBFF8E6-08EC-08EF-4868-314783205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5DE121B-7B73-1CEC-54D8-01BE602AD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8F569B7-261E-22EE-2183-1AB7F6143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  <p:sp>
        <p:nvSpPr>
          <p:cNvPr id="11" name="Platshållare för text 10">
            <a:extLst>
              <a:ext uri="{FF2B5EF4-FFF2-40B4-BE49-F238E27FC236}">
                <a16:creationId xmlns:a16="http://schemas.microsoft.com/office/drawing/2014/main" id="{1FA491F6-CC53-C82F-56C8-F6F47CD1DA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4524" y="4118769"/>
            <a:ext cx="4803775" cy="2032000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266700" indent="0">
              <a:buNone/>
              <a:defRPr sz="1100">
                <a:solidFill>
                  <a:schemeClr val="bg1"/>
                </a:solidFill>
              </a:defRPr>
            </a:lvl2pPr>
            <a:lvl3pPr marL="542925" indent="0">
              <a:buNone/>
              <a:defRPr sz="1100">
                <a:solidFill>
                  <a:schemeClr val="bg1"/>
                </a:solidFill>
              </a:defRPr>
            </a:lvl3pPr>
            <a:lvl4pPr marL="809625" indent="0">
              <a:buNone/>
              <a:defRPr sz="1100">
                <a:solidFill>
                  <a:schemeClr val="bg1"/>
                </a:solidFill>
              </a:defRPr>
            </a:lvl4pPr>
            <a:lvl5pPr marL="1076325" indent="0">
              <a:buNone/>
              <a:defRPr sz="1100">
                <a:solidFill>
                  <a:schemeClr val="bg1"/>
                </a:solidFill>
              </a:defRPr>
            </a:lvl5pPr>
          </a:lstStyle>
          <a:p>
            <a:r>
              <a:rPr lang="sv-SE" b="1" dirty="0">
                <a:solidFill>
                  <a:schemeClr val="bg1"/>
                </a:solidFill>
              </a:rPr>
              <a:t>Kontakt</a:t>
            </a:r>
          </a:p>
          <a:p>
            <a:r>
              <a:rPr lang="sv-SE" dirty="0">
                <a:solidFill>
                  <a:schemeClr val="bg1"/>
                </a:solidFill>
              </a:rPr>
              <a:t>Stockholms Stadsmission</a:t>
            </a:r>
          </a:p>
          <a:p>
            <a:pPr>
              <a:lnSpc>
                <a:spcPct val="110000"/>
              </a:lnSpc>
            </a:pPr>
            <a:r>
              <a:rPr lang="sv-SE" dirty="0"/>
              <a:t>Box 35</a:t>
            </a:r>
          </a:p>
          <a:p>
            <a:pPr>
              <a:lnSpc>
                <a:spcPct val="110000"/>
              </a:lnSpc>
            </a:pPr>
            <a:r>
              <a:rPr lang="sv-SE" dirty="0"/>
              <a:t>131 06 Nacka</a:t>
            </a:r>
          </a:p>
          <a:p>
            <a:pPr>
              <a:lnSpc>
                <a:spcPct val="110000"/>
              </a:lnSpc>
            </a:pPr>
            <a:endParaRPr lang="sv-SE" dirty="0"/>
          </a:p>
          <a:p>
            <a:pPr>
              <a:lnSpc>
                <a:spcPct val="120000"/>
              </a:lnSpc>
            </a:pPr>
            <a:r>
              <a:rPr lang="sv-SE" dirty="0"/>
              <a:t>Besöksadress: </a:t>
            </a:r>
          </a:p>
          <a:p>
            <a:pPr>
              <a:lnSpc>
                <a:spcPct val="120000"/>
              </a:lnSpc>
            </a:pPr>
            <a:r>
              <a:rPr lang="sv-SE" dirty="0"/>
              <a:t>Hesselmans torg 14, Nacka </a:t>
            </a:r>
          </a:p>
          <a:p>
            <a:pPr>
              <a:lnSpc>
                <a:spcPct val="120000"/>
              </a:lnSpc>
            </a:pPr>
            <a:r>
              <a:rPr lang="sv-SE" dirty="0"/>
              <a:t>08-684 230 00</a:t>
            </a:r>
          </a:p>
          <a:p>
            <a:r>
              <a:rPr lang="sv-SE" dirty="0">
                <a:solidFill>
                  <a:schemeClr val="bg1"/>
                </a:solidFill>
              </a:rPr>
              <a:t>info@stadsmissionen.se</a:t>
            </a:r>
          </a:p>
          <a:p>
            <a:endParaRPr lang="sv-SE" dirty="0">
              <a:solidFill>
                <a:schemeClr val="bg1"/>
              </a:solidFill>
            </a:endParaRPr>
          </a:p>
          <a:p>
            <a:r>
              <a:rPr lang="sv-SE" dirty="0">
                <a:solidFill>
                  <a:schemeClr val="bg1"/>
                </a:solidFill>
              </a:rPr>
              <a:t>www.stadsmissionen.se </a:t>
            </a:r>
          </a:p>
        </p:txBody>
      </p:sp>
    </p:spTree>
    <p:extLst>
      <p:ext uri="{BB962C8B-B14F-4D97-AF65-F5344CB8AC3E}">
        <p14:creationId xmlns:p14="http://schemas.microsoft.com/office/powerpoint/2010/main" val="17448082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C58BD736-D1C1-B0ED-2839-EA6919F2B1B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E68E6F49-0B48-F282-5830-354B33172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983054B-0CF2-0E74-167C-FDC7304A7B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AF05E7C9-1127-AB3F-164A-EAE247B860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8FF9990E-2639-05FE-1852-97B754EBD2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01559" y="2530796"/>
            <a:ext cx="5188882" cy="1796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78706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04C048-A086-49E8-940A-2B0083F6772F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3DA8D358-9AF1-44F4-8EA1-8A45B62C3580}"/>
              </a:ext>
            </a:extLst>
          </p:cNvPr>
          <p:cNvSpPr txBox="1">
            <a:spLocks/>
          </p:cNvSpPr>
          <p:nvPr userDrawn="1"/>
        </p:nvSpPr>
        <p:spPr>
          <a:xfrm>
            <a:off x="8641258" y="6376244"/>
            <a:ext cx="29273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sv-SE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D424D8-31A2-4D00-BC19-B113BE251BCA}" type="slidenum">
              <a:rPr lang="sv-SE" sz="12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sv-S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Platshållare för text 9">
            <a:extLst>
              <a:ext uri="{FF2B5EF4-FFF2-40B4-BE49-F238E27FC236}">
                <a16:creationId xmlns:a16="http://schemas.microsoft.com/office/drawing/2014/main" id="{BC8178BA-4396-407C-A8C9-CAFC89FD567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0210" y="835372"/>
            <a:ext cx="7474708" cy="360000"/>
          </a:xfrm>
        </p:spPr>
        <p:txBody>
          <a:bodyPr/>
          <a:lstStyle>
            <a:lvl1pPr marL="0" indent="0">
              <a:buNone/>
              <a:defRPr sz="1800" b="1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41382951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CB67332-2AC4-03F8-A257-3D41B25832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A5BE2BB5-EF7F-350E-F0DB-23FE746D732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510760E-9ED4-29B5-5DBA-E3043827F9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3A0D63-8AAB-4BA8-8AA1-0538DB6199EE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5E2D3C3E-1B5D-61A7-51FF-B783C230FC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78A3DC0-6FFE-8607-5764-2F3BD42F76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5B566-D8E4-4997-9712-DD83B29784D0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602137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och innehåll bild höger vit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F923A53-2A63-1553-FED1-2E129E13B9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476250"/>
            <a:ext cx="5218112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09BD29B-99FD-6112-056E-78AC01B5C6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7" y="1936750"/>
            <a:ext cx="5218113" cy="36449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FBFF8E6-08EC-08EF-4868-314783205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5DE121B-7B73-1CEC-54D8-01BE602AD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8F569B7-261E-22EE-2183-1AB7F6143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  <p:sp>
        <p:nvSpPr>
          <p:cNvPr id="8" name="Platshållare för bild 7">
            <a:extLst>
              <a:ext uri="{FF2B5EF4-FFF2-40B4-BE49-F238E27FC236}">
                <a16:creationId xmlns:a16="http://schemas.microsoft.com/office/drawing/2014/main" id="{7A54D941-016C-A429-B73F-0477CDC70E1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225425"/>
            <a:ext cx="5868988" cy="64071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9" name="Logo">
            <a:extLst>
              <a:ext uri="{FF2B5EF4-FFF2-40B4-BE49-F238E27FC236}">
                <a16:creationId xmlns:a16="http://schemas.microsoft.com/office/drawing/2014/main" id="{887CF913-7624-0FB2-C73A-C5DD1F4C9EE5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0260121" y="5768975"/>
            <a:ext cx="1766455" cy="97155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1910891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text mitten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C904E0E-1725-93DB-676B-2556C69A3A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5612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904E0E-1725-93DB-676B-2556C69A3A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09BD29B-99FD-6112-056E-78AC01B5C6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63863" y="2218228"/>
            <a:ext cx="6264275" cy="4163522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FBFF8E6-08EC-08EF-4868-314783205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5DE121B-7B73-1CEC-54D8-01BE602AD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8F569B7-261E-22EE-2183-1AB7F6143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  <p:sp>
        <p:nvSpPr>
          <p:cNvPr id="8" name="Rubrik 7">
            <a:extLst>
              <a:ext uri="{FF2B5EF4-FFF2-40B4-BE49-F238E27FC236}">
                <a16:creationId xmlns:a16="http://schemas.microsoft.com/office/drawing/2014/main" id="{17C142F1-1CA7-5B8F-DC62-576AA07F0B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63864" y="1237096"/>
            <a:ext cx="6264274" cy="753404"/>
          </a:xfrm>
        </p:spPr>
        <p:txBody>
          <a:bodyPr vert="horz"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4906866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text mitten (mediu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9EB0AA8-FF6D-84E0-AB6E-E08699CD8F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8966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EB0AA8-FF6D-84E0-AB6E-E08699CD8F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FBFF8E6-08EC-08EF-4868-314783205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5DE121B-7B73-1CEC-54D8-01BE602AD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8F569B7-261E-22EE-2183-1AB7F6143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  <p:sp>
        <p:nvSpPr>
          <p:cNvPr id="10" name="Rubrik 9">
            <a:extLst>
              <a:ext uri="{FF2B5EF4-FFF2-40B4-BE49-F238E27FC236}">
                <a16:creationId xmlns:a16="http://schemas.microsoft.com/office/drawing/2014/main" id="{00F30730-55AA-D8F3-0F42-737B8B58A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03388" y="1237096"/>
            <a:ext cx="8785223" cy="753404"/>
          </a:xfrm>
        </p:spPr>
        <p:txBody>
          <a:bodyPr vert="horz"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83B0DAE6-A35D-06AA-3AED-867834C556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03387" y="2218228"/>
            <a:ext cx="8785225" cy="4163522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606960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C904E0E-1725-93DB-676B-2556C69A3A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8302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904E0E-1725-93DB-676B-2556C69A3A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09BD29B-99FD-6112-056E-78AC01B5C6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FBFF8E6-08EC-08EF-4868-314783205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5DE121B-7B73-1CEC-54D8-01BE602AD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8F569B7-261E-22EE-2183-1AB7F6143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  <p:sp>
        <p:nvSpPr>
          <p:cNvPr id="8" name="Rubrik 7">
            <a:extLst>
              <a:ext uri="{FF2B5EF4-FFF2-40B4-BE49-F238E27FC236}">
                <a16:creationId xmlns:a16="http://schemas.microsoft.com/office/drawing/2014/main" id="{17C142F1-1CA7-5B8F-DC62-576AA07F0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2397945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 gr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9AD56B15-EE98-DA6F-F67D-BFC9CA2AD6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218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D56B15-EE98-DA6F-F67D-BFC9CA2AD6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>
            <a:extLst>
              <a:ext uri="{FF2B5EF4-FFF2-40B4-BE49-F238E27FC236}">
                <a16:creationId xmlns:a16="http://schemas.microsoft.com/office/drawing/2014/main" id="{946F3C17-E8A9-EED9-4419-DEB292020082}"/>
              </a:ext>
            </a:extLst>
          </p:cNvPr>
          <p:cNvSpPr/>
          <p:nvPr userDrawn="1"/>
        </p:nvSpPr>
        <p:spPr>
          <a:xfrm>
            <a:off x="0" y="0"/>
            <a:ext cx="12191999" cy="689133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09BD29B-99FD-6112-056E-78AC01B5C6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FBFF8E6-08EC-08EF-4868-314783205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5DE121B-7B73-1CEC-54D8-01BE602AD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8F569B7-261E-22EE-2183-1AB7F6143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4EA1A8E4-1884-DB1F-83EC-E91974C7513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3676" y="358941"/>
            <a:ext cx="1361384" cy="474819"/>
          </a:xfrm>
          <a:prstGeom prst="rect">
            <a:avLst/>
          </a:prstGeom>
        </p:spPr>
      </p:pic>
      <p:cxnSp>
        <p:nvCxnSpPr>
          <p:cNvPr id="9" name="Rak 7">
            <a:extLst>
              <a:ext uri="{FF2B5EF4-FFF2-40B4-BE49-F238E27FC236}">
                <a16:creationId xmlns:a16="http://schemas.microsoft.com/office/drawing/2014/main" id="{D68DAA57-C8B3-392D-4A3B-7304B3529F48}"/>
              </a:ext>
            </a:extLst>
          </p:cNvPr>
          <p:cNvCxnSpPr>
            <a:cxnSpLocks/>
          </p:cNvCxnSpPr>
          <p:nvPr userDrawn="1"/>
        </p:nvCxnSpPr>
        <p:spPr>
          <a:xfrm flipV="1">
            <a:off x="343676" y="964647"/>
            <a:ext cx="11518124" cy="3869"/>
          </a:xfrm>
          <a:prstGeom prst="line">
            <a:avLst/>
          </a:prstGeom>
          <a:noFill/>
          <a:ln w="635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Rubrik 11">
            <a:extLst>
              <a:ext uri="{FF2B5EF4-FFF2-40B4-BE49-F238E27FC236}">
                <a16:creationId xmlns:a16="http://schemas.microsoft.com/office/drawing/2014/main" id="{8A945713-AAB6-3174-9DC7-48829D5D3E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3034785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två textru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C904E0E-1725-93DB-676B-2556C69A3A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8302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904E0E-1725-93DB-676B-2556C69A3A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09BD29B-99FD-6112-056E-78AC01B5C6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3676" y="2218228"/>
            <a:ext cx="5576833" cy="4163522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FBFF8E6-08EC-08EF-4868-314783205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5DE121B-7B73-1CEC-54D8-01BE602AD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8F569B7-261E-22EE-2183-1AB7F6143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  <p:sp>
        <p:nvSpPr>
          <p:cNvPr id="8" name="Rubrik 7">
            <a:extLst>
              <a:ext uri="{FF2B5EF4-FFF2-40B4-BE49-F238E27FC236}">
                <a16:creationId xmlns:a16="http://schemas.microsoft.com/office/drawing/2014/main" id="{17C142F1-1CA7-5B8F-DC62-576AA07F0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2" name="Platshållare för innehåll 2">
            <a:extLst>
              <a:ext uri="{FF2B5EF4-FFF2-40B4-BE49-F238E27FC236}">
                <a16:creationId xmlns:a16="http://schemas.microsoft.com/office/drawing/2014/main" id="{E577AFC4-E838-3137-B11F-54767AA51715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80205" y="2218228"/>
            <a:ext cx="5576833" cy="4163522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020246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tfallande bild svart text och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tshållare för bild 13">
            <a:extLst>
              <a:ext uri="{FF2B5EF4-FFF2-40B4-BE49-F238E27FC236}">
                <a16:creationId xmlns:a16="http://schemas.microsoft.com/office/drawing/2014/main" id="{0BDB382F-C955-9887-EE4D-C295A54C890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334963 w 12191999"/>
              <a:gd name="connsiteY0" fmla="*/ 964647 h 6858000"/>
              <a:gd name="connsiteX1" fmla="*/ 334963 w 12191999"/>
              <a:gd name="connsiteY1" fmla="*/ 971847 h 6858000"/>
              <a:gd name="connsiteX2" fmla="*/ 11848324 w 12191999"/>
              <a:gd name="connsiteY2" fmla="*/ 971847 h 6858000"/>
              <a:gd name="connsiteX3" fmla="*/ 11848324 w 12191999"/>
              <a:gd name="connsiteY3" fmla="*/ 964647 h 6858000"/>
              <a:gd name="connsiteX4" fmla="*/ 0 w 12191999"/>
              <a:gd name="connsiteY4" fmla="*/ 0 h 6858000"/>
              <a:gd name="connsiteX5" fmla="*/ 12191999 w 12191999"/>
              <a:gd name="connsiteY5" fmla="*/ 0 h 6858000"/>
              <a:gd name="connsiteX6" fmla="*/ 12191999 w 12191999"/>
              <a:gd name="connsiteY6" fmla="*/ 6858000 h 6858000"/>
              <a:gd name="connsiteX7" fmla="*/ 0 w 12191999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1999" h="6858000">
                <a:moveTo>
                  <a:pt x="334963" y="964647"/>
                </a:moveTo>
                <a:lnTo>
                  <a:pt x="334963" y="971847"/>
                </a:lnTo>
                <a:lnTo>
                  <a:pt x="11848324" y="971847"/>
                </a:lnTo>
                <a:lnTo>
                  <a:pt x="11848324" y="964647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38EEA17-9124-61DB-60DC-A02CE67F45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0989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8EEA17-9124-61DB-60DC-A02CE67F45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FBFF8E6-08EC-08EF-4868-314783205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5DE121B-7B73-1CEC-54D8-01BE602AD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8F569B7-261E-22EE-2183-1AB7F6143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4361C156-CC55-25C2-E98B-7B8CE04C862A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343676" y="362531"/>
            <a:ext cx="1359712" cy="470907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 dirty="0"/>
              <a:t>  </a:t>
            </a:r>
          </a:p>
        </p:txBody>
      </p:sp>
      <p:sp>
        <p:nvSpPr>
          <p:cNvPr id="11" name="Rubrik 10">
            <a:extLst>
              <a:ext uri="{FF2B5EF4-FFF2-40B4-BE49-F238E27FC236}">
                <a16:creationId xmlns:a16="http://schemas.microsoft.com/office/drawing/2014/main" id="{1595C59F-2AD7-ADEA-DEF3-39A94006EA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v-SE"/>
              <a:t>Klicka här för att ändra mall för rubrikformat</a:t>
            </a:r>
          </a:p>
        </p:txBody>
      </p:sp>
      <p:cxnSp>
        <p:nvCxnSpPr>
          <p:cNvPr id="3" name="Rak koppling 2">
            <a:extLst>
              <a:ext uri="{FF2B5EF4-FFF2-40B4-BE49-F238E27FC236}">
                <a16:creationId xmlns:a16="http://schemas.microsoft.com/office/drawing/2014/main" id="{DA8FCF8E-596C-AD61-8185-D25D0B7DE8EF}"/>
              </a:ext>
            </a:extLst>
          </p:cNvPr>
          <p:cNvCxnSpPr>
            <a:endCxn id="14" idx="3"/>
          </p:cNvCxnSpPr>
          <p:nvPr userDrawn="1"/>
        </p:nvCxnSpPr>
        <p:spPr>
          <a:xfrm flipV="1">
            <a:off x="343676" y="964647"/>
            <a:ext cx="11504648" cy="3093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0324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tfallande bild vit text och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38EEA17-9124-61DB-60DC-A02CE67F45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0989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8EEA17-9124-61DB-60DC-A02CE67F45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latshållare för bild 13">
            <a:extLst>
              <a:ext uri="{FF2B5EF4-FFF2-40B4-BE49-F238E27FC236}">
                <a16:creationId xmlns:a16="http://schemas.microsoft.com/office/drawing/2014/main" id="{0BDB382F-C955-9887-EE4D-C295A54C890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1999" cy="6858000"/>
          </a:xfrm>
          <a:custGeom>
            <a:avLst/>
            <a:gdLst>
              <a:gd name="connsiteX0" fmla="*/ 334963 w 12191999"/>
              <a:gd name="connsiteY0" fmla="*/ 964647 h 6858000"/>
              <a:gd name="connsiteX1" fmla="*/ 334963 w 12191999"/>
              <a:gd name="connsiteY1" fmla="*/ 971847 h 6858000"/>
              <a:gd name="connsiteX2" fmla="*/ 11848324 w 12191999"/>
              <a:gd name="connsiteY2" fmla="*/ 971847 h 6858000"/>
              <a:gd name="connsiteX3" fmla="*/ 11848324 w 12191999"/>
              <a:gd name="connsiteY3" fmla="*/ 964647 h 6858000"/>
              <a:gd name="connsiteX4" fmla="*/ 0 w 12191999"/>
              <a:gd name="connsiteY4" fmla="*/ 0 h 6858000"/>
              <a:gd name="connsiteX5" fmla="*/ 12191999 w 12191999"/>
              <a:gd name="connsiteY5" fmla="*/ 0 h 6858000"/>
              <a:gd name="connsiteX6" fmla="*/ 12191999 w 12191999"/>
              <a:gd name="connsiteY6" fmla="*/ 6858000 h 6858000"/>
              <a:gd name="connsiteX7" fmla="*/ 0 w 12191999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1999" h="6858000">
                <a:moveTo>
                  <a:pt x="334963" y="964647"/>
                </a:moveTo>
                <a:lnTo>
                  <a:pt x="334963" y="971847"/>
                </a:lnTo>
                <a:lnTo>
                  <a:pt x="11848324" y="971847"/>
                </a:lnTo>
                <a:lnTo>
                  <a:pt x="11848324" y="964647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FBFF8E6-08EC-08EF-4868-314783205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5DE121B-7B73-1CEC-54D8-01BE602AD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8F569B7-261E-22EE-2183-1AB7F6143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  <p:sp>
        <p:nvSpPr>
          <p:cNvPr id="11" name="Rubrik 10">
            <a:extLst>
              <a:ext uri="{FF2B5EF4-FFF2-40B4-BE49-F238E27FC236}">
                <a16:creationId xmlns:a16="http://schemas.microsoft.com/office/drawing/2014/main" id="{1595C59F-2AD7-ADEA-DEF3-39A94006EA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677" y="1268413"/>
            <a:ext cx="11513361" cy="753404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563A15F0-ABDA-F38A-25BE-A137D4CD8CDD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343676" y="360150"/>
            <a:ext cx="1359712" cy="470907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F60F9CBB-D02C-58DF-8C52-8F3C69CD1E95}"/>
              </a:ext>
            </a:extLst>
          </p:cNvPr>
          <p:cNvSpPr/>
          <p:nvPr userDrawn="1"/>
        </p:nvSpPr>
        <p:spPr>
          <a:xfrm>
            <a:off x="534988" y="-89985"/>
            <a:ext cx="11522075" cy="18000"/>
          </a:xfrm>
          <a:prstGeom prst="rect">
            <a:avLst/>
          </a:prstGeom>
          <a:solidFill>
            <a:schemeClr val="bg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27553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BC6A7CF-8E09-C816-F700-9857434D68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444206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06" imgH="306" progId="TCLayout.ActiveDocument.1">
                  <p:embed/>
                </p:oleObj>
              </mc:Choice>
              <mc:Fallback>
                <p:oleObj name="think-cell Slide" r:id="rId27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C6A7CF-8E09-C816-F700-9857434D68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Bildobjekt 12">
            <a:extLst>
              <a:ext uri="{FF2B5EF4-FFF2-40B4-BE49-F238E27FC236}">
                <a16:creationId xmlns:a16="http://schemas.microsoft.com/office/drawing/2014/main" id="{73AB814A-01AB-F8CC-D05A-4F508C20C267}"/>
              </a:ext>
            </a:extLst>
          </p:cNvPr>
          <p:cNvPicPr>
            <a:picLocks noChangeAspect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3676" y="358941"/>
            <a:ext cx="1361384" cy="474819"/>
          </a:xfrm>
          <a:prstGeom prst="rect">
            <a:avLst/>
          </a:prstGeom>
        </p:spPr>
      </p:pic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40831B59-BAD7-1283-0FE1-5502186AA6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676" y="1237096"/>
            <a:ext cx="11513361" cy="75340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F092C05-2B98-971F-9995-9D6B56227E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3676" y="2218227"/>
            <a:ext cx="11513362" cy="414804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33E29AC9-D5FC-CB8F-E68F-942CAFAD22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9850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C96A24-7DFA-46B5-B5E6-08A4E62AA378}" type="datetimeFigureOut">
              <a:rPr lang="sv-SE" smtClean="0"/>
              <a:t>2026-05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087C922C-0ADB-6C1A-5494-294EAD7FD2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98500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379B7687-0822-29B2-2682-0EACA784FB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372350" y="707866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9323D4-22B5-4377-BA28-D029C18F0F02}" type="slidenum">
              <a:rPr lang="sv-SE" smtClean="0"/>
              <a:t>‹#›</a:t>
            </a:fld>
            <a:endParaRPr lang="sv-SE"/>
          </a:p>
        </p:txBody>
      </p:sp>
      <p:cxnSp>
        <p:nvCxnSpPr>
          <p:cNvPr id="7" name="Rak 7">
            <a:extLst>
              <a:ext uri="{FF2B5EF4-FFF2-40B4-BE49-F238E27FC236}">
                <a16:creationId xmlns:a16="http://schemas.microsoft.com/office/drawing/2014/main" id="{EEA1F13A-B07F-9724-00FB-C468E1B87969}"/>
              </a:ext>
            </a:extLst>
          </p:cNvPr>
          <p:cNvCxnSpPr>
            <a:cxnSpLocks/>
          </p:cNvCxnSpPr>
          <p:nvPr userDrawn="1"/>
        </p:nvCxnSpPr>
        <p:spPr>
          <a:xfrm flipV="1">
            <a:off x="343676" y="964647"/>
            <a:ext cx="11518124" cy="3869"/>
          </a:xfrm>
          <a:prstGeom prst="line">
            <a:avLst/>
          </a:prstGeom>
          <a:noFill/>
          <a:ln w="635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917503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0" r:id="rId2"/>
    <p:sldLayoutId id="2147483678" r:id="rId3"/>
    <p:sldLayoutId id="2147483685" r:id="rId4"/>
    <p:sldLayoutId id="2147483650" r:id="rId5"/>
    <p:sldLayoutId id="2147483656" r:id="rId6"/>
    <p:sldLayoutId id="2147483683" r:id="rId7"/>
    <p:sldLayoutId id="2147483660" r:id="rId8"/>
    <p:sldLayoutId id="2147483688" r:id="rId9"/>
    <p:sldLayoutId id="2147483673" r:id="rId10"/>
    <p:sldLayoutId id="2147483691" r:id="rId11"/>
    <p:sldLayoutId id="2147483687" r:id="rId12"/>
    <p:sldLayoutId id="2147483667" r:id="rId13"/>
    <p:sldLayoutId id="2147483681" r:id="rId14"/>
    <p:sldLayoutId id="2147483680" r:id="rId15"/>
    <p:sldLayoutId id="2147483686" r:id="rId16"/>
    <p:sldLayoutId id="2147483665" r:id="rId17"/>
    <p:sldLayoutId id="2147483654" r:id="rId18"/>
    <p:sldLayoutId id="2147483655" r:id="rId19"/>
    <p:sldLayoutId id="2147483684" r:id="rId20"/>
    <p:sldLayoutId id="2147483689" r:id="rId21"/>
    <p:sldLayoutId id="2147483692" r:id="rId22"/>
    <p:sldLayoutId id="2147483694" r:id="rId23"/>
    <p:sldLayoutId id="2147483695" r:id="rId2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2925" indent="-27622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09625" indent="-2667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2667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43025" indent="-2667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11" userDrawn="1">
          <p15:clr>
            <a:srgbClr val="F26B43"/>
          </p15:clr>
        </p15:guide>
        <p15:guide id="5" orient="horz" pos="4020" userDrawn="1">
          <p15:clr>
            <a:srgbClr val="F26B43"/>
          </p15:clr>
        </p15:guide>
        <p15:guide id="6" pos="1867" userDrawn="1">
          <p15:clr>
            <a:srgbClr val="F26B43"/>
          </p15:clr>
        </p15:guide>
        <p15:guide id="7" orient="horz" pos="799" userDrawn="1">
          <p15:clr>
            <a:srgbClr val="F26B43"/>
          </p15:clr>
        </p15:guide>
        <p15:guide id="8" pos="7469" userDrawn="1">
          <p15:clr>
            <a:srgbClr val="F26B43"/>
          </p15:clr>
        </p15:guide>
        <p15:guide id="9" pos="5813" userDrawn="1">
          <p15:clr>
            <a:srgbClr val="F26B43"/>
          </p15:clr>
        </p15:guide>
        <p15:guide id="10" orient="horz" pos="731" userDrawn="1">
          <p15:clr>
            <a:srgbClr val="F26B43"/>
          </p15:clr>
        </p15:guide>
        <p15:guide id="11" pos="1073" userDrawn="1">
          <p15:clr>
            <a:srgbClr val="F26B43"/>
          </p15:clr>
        </p15:guide>
        <p15:guide id="12" pos="660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AC46CE0-371E-0A53-C8C7-CF88DE57AD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3468" y="643467"/>
            <a:ext cx="5124676" cy="2597573"/>
          </a:xfrm>
        </p:spPr>
        <p:txBody>
          <a:bodyPr>
            <a:normAutofit/>
          </a:bodyPr>
          <a:lstStyle/>
          <a:p>
            <a:pPr algn="l"/>
            <a:r>
              <a:rPr lang="sv-SE" sz="4000" dirty="0"/>
              <a:t>Stockholm &amp; </a:t>
            </a:r>
            <a:br>
              <a:rPr lang="sv-SE" sz="4000" dirty="0"/>
            </a:br>
            <a:r>
              <a:rPr lang="sv-SE" sz="4000" dirty="0"/>
              <a:t>Göteborg</a:t>
            </a:r>
          </a:p>
        </p:txBody>
      </p:sp>
      <p:pic>
        <p:nvPicPr>
          <p:cNvPr id="3" name="Bildobjekt 2" descr="En bild som visar person&#10;&#10;Automatiskt genererad beskrivning">
            <a:extLst>
              <a:ext uri="{FF2B5EF4-FFF2-40B4-BE49-F238E27FC236}">
                <a16:creationId xmlns:a16="http://schemas.microsoft.com/office/drawing/2014/main" id="{02B959DB-1C15-4539-85A5-398133613F6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-1" b="33450"/>
          <a:stretch/>
        </p:blipFill>
        <p:spPr>
          <a:xfrm>
            <a:off x="5311702" y="10"/>
            <a:ext cx="6878775" cy="6857990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</p:spPr>
      </p:pic>
      <p:pic>
        <p:nvPicPr>
          <p:cNvPr id="5" name="Bildobjekt 4">
            <a:extLst>
              <a:ext uri="{FF2B5EF4-FFF2-40B4-BE49-F238E27FC236}">
                <a16:creationId xmlns:a16="http://schemas.microsoft.com/office/drawing/2014/main" id="{579D4E83-D5EE-B985-F92E-CF9F6DEE1B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83024" y="302528"/>
            <a:ext cx="1371791" cy="609685"/>
          </a:xfrm>
          <a:prstGeom prst="rect">
            <a:avLst/>
          </a:prstGeom>
        </p:spPr>
      </p:pic>
      <p:sp>
        <p:nvSpPr>
          <p:cNvPr id="6" name="textruta 5">
            <a:extLst>
              <a:ext uri="{FF2B5EF4-FFF2-40B4-BE49-F238E27FC236}">
                <a16:creationId xmlns:a16="http://schemas.microsoft.com/office/drawing/2014/main" id="{1F58C818-2AE8-D671-2FB0-B2FDF6890940}"/>
              </a:ext>
            </a:extLst>
          </p:cNvPr>
          <p:cNvSpPr txBox="1"/>
          <p:nvPr/>
        </p:nvSpPr>
        <p:spPr>
          <a:xfrm>
            <a:off x="643469" y="4632158"/>
            <a:ext cx="432557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/>
              <a:t>Ann-Sofie Kahl, områdeschef </a:t>
            </a:r>
          </a:p>
          <a:p>
            <a:r>
              <a:rPr lang="sv-SE" dirty="0"/>
              <a:t>Återbruk &amp; Produktion</a:t>
            </a:r>
          </a:p>
          <a:p>
            <a:endParaRPr lang="sv-SE" dirty="0"/>
          </a:p>
          <a:p>
            <a:r>
              <a:rPr lang="sv-SE" dirty="0"/>
              <a:t>Sara Habte Selassie, Verksamhetsutvecklare Secondhand</a:t>
            </a:r>
          </a:p>
        </p:txBody>
      </p:sp>
    </p:spTree>
    <p:extLst>
      <p:ext uri="{BB962C8B-B14F-4D97-AF65-F5344CB8AC3E}">
        <p14:creationId xmlns:p14="http://schemas.microsoft.com/office/powerpoint/2010/main" val="3415838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latshållare för bild 4" descr="En bild som visar person&#10;&#10;Automatiskt genererad beskrivning">
            <a:extLst>
              <a:ext uri="{FF2B5EF4-FFF2-40B4-BE49-F238E27FC236}">
                <a16:creationId xmlns:a16="http://schemas.microsoft.com/office/drawing/2014/main" id="{C58F564A-BADF-9493-3794-00264A9C295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" b="70"/>
          <a:stretch>
            <a:fillRect/>
          </a:stretch>
        </p:blipFill>
        <p:spPr>
          <a:xfrm>
            <a:off x="8297206" y="1195986"/>
            <a:ext cx="3564669" cy="4896579"/>
          </a:xfrm>
          <a:prstGeom prst="rect">
            <a:avLst/>
          </a:prstGeom>
          <a:effectLst/>
        </p:spPr>
      </p:pic>
      <p:pic>
        <p:nvPicPr>
          <p:cNvPr id="9" name="Bildobjekt 8">
            <a:extLst>
              <a:ext uri="{FF2B5EF4-FFF2-40B4-BE49-F238E27FC236}">
                <a16:creationId xmlns:a16="http://schemas.microsoft.com/office/drawing/2014/main" id="{2F22566E-CEFD-9279-6C7B-A8C0221BE9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1020" y="528635"/>
            <a:ext cx="2749959" cy="330467"/>
          </a:xfrm>
          <a:prstGeom prst="rect">
            <a:avLst/>
          </a:prstGeom>
        </p:spPr>
      </p:pic>
      <p:pic>
        <p:nvPicPr>
          <p:cNvPr id="10" name="Bildobjekt 9">
            <a:extLst>
              <a:ext uri="{FF2B5EF4-FFF2-40B4-BE49-F238E27FC236}">
                <a16:creationId xmlns:a16="http://schemas.microsoft.com/office/drawing/2014/main" id="{33D1C278-4A71-758A-BA00-CE6D29E2D5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7034" y="1313797"/>
            <a:ext cx="5056719" cy="2583551"/>
          </a:xfrm>
          <a:prstGeom prst="rect">
            <a:avLst/>
          </a:prstGeom>
        </p:spPr>
      </p:pic>
      <p:pic>
        <p:nvPicPr>
          <p:cNvPr id="11" name="Bildobjekt 10">
            <a:extLst>
              <a:ext uri="{FF2B5EF4-FFF2-40B4-BE49-F238E27FC236}">
                <a16:creationId xmlns:a16="http://schemas.microsoft.com/office/drawing/2014/main" id="{E960D4E3-1746-9494-EFAC-003AF5DF5BB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7034" y="4035858"/>
            <a:ext cx="4663218" cy="1785425"/>
          </a:xfrm>
          <a:prstGeom prst="rect">
            <a:avLst/>
          </a:prstGeom>
        </p:spPr>
      </p:pic>
      <p:sp>
        <p:nvSpPr>
          <p:cNvPr id="13" name="textruta 12">
            <a:extLst>
              <a:ext uri="{FF2B5EF4-FFF2-40B4-BE49-F238E27FC236}">
                <a16:creationId xmlns:a16="http://schemas.microsoft.com/office/drawing/2014/main" id="{ACDDDE55-9CEA-8BAE-64FE-E5E37CABAA81}"/>
              </a:ext>
            </a:extLst>
          </p:cNvPr>
          <p:cNvSpPr txBox="1"/>
          <p:nvPr/>
        </p:nvSpPr>
        <p:spPr>
          <a:xfrm>
            <a:off x="5662242" y="1195986"/>
            <a:ext cx="2466474" cy="618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/>
              <a:t>Genom </a:t>
            </a:r>
            <a:r>
              <a:rPr lang="sv-SE" dirty="0" err="1"/>
              <a:t>upcycling</a:t>
            </a:r>
            <a:r>
              <a:rPr lang="sv-SE" dirty="0"/>
              <a:t> kan produkter som tidigare klassats som avfall bli säljbara produkt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/>
              <a:t> </a:t>
            </a:r>
            <a:r>
              <a:rPr lang="sv-SE" b="1" dirty="0"/>
              <a:t>Helande hantverk </a:t>
            </a:r>
            <a:r>
              <a:rPr lang="sv-SE" dirty="0"/>
              <a:t>– Remake modellen har bra </a:t>
            </a:r>
            <a:r>
              <a:rPr lang="sv-SE" dirty="0" err="1"/>
              <a:t>trackrekord</a:t>
            </a:r>
            <a:r>
              <a:rPr lang="sv-SE" dirty="0"/>
              <a:t> i flera målgrupper: språksvaga, psykisk ohälsa, utbrändhet. </a:t>
            </a:r>
          </a:p>
          <a:p>
            <a:endParaRPr lang="sv-S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/>
              <a:t>Hantverk – en klassfråga i dagens samhälle. Vi lär ut och inspirerar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dirty="0"/>
          </a:p>
          <a:p>
            <a:endParaRPr lang="sv-S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989619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78F289-A87F-CDBC-6AE6-043E46DDD6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9104A68-5AC0-3B33-2683-6E731E50B0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191" y="1150018"/>
            <a:ext cx="5218112" cy="1325563"/>
          </a:xfrm>
        </p:spPr>
        <p:txBody>
          <a:bodyPr anchor="t">
            <a:normAutofit/>
          </a:bodyPr>
          <a:lstStyle/>
          <a:p>
            <a:r>
              <a:rPr lang="sv-SE" dirty="0"/>
              <a:t>Framåtblick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21CFA7-12FE-54B7-E1F0-E740A492C7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7" y="1936750"/>
            <a:ext cx="5218113" cy="3644900"/>
          </a:xfrm>
        </p:spPr>
        <p:txBody>
          <a:bodyPr>
            <a:normAutofit/>
          </a:bodyPr>
          <a:lstStyle/>
          <a:p>
            <a:r>
              <a:rPr lang="sv-SE" sz="1400" dirty="0"/>
              <a:t>Business as </a:t>
            </a:r>
            <a:r>
              <a:rPr lang="sv-SE" sz="1400" dirty="0" err="1"/>
              <a:t>usual</a:t>
            </a:r>
            <a:r>
              <a:rPr lang="sv-SE" sz="1400" dirty="0"/>
              <a:t> funkar inte längre i en konkurrensutsatt marknad.</a:t>
            </a:r>
          </a:p>
          <a:p>
            <a:r>
              <a:rPr lang="sv-SE" sz="1400" dirty="0"/>
              <a:t>Vi behöver behålla vår relevans när fler går in på second hand-marknaden.</a:t>
            </a:r>
          </a:p>
          <a:p>
            <a:r>
              <a:rPr lang="sv-SE" sz="1400" dirty="0"/>
              <a:t>Vi blir en viktig del i att stötta/samverka med  handeln i omställningen och vara en möjliggörande part.</a:t>
            </a:r>
          </a:p>
          <a:p>
            <a:r>
              <a:rPr lang="sv-SE" sz="1400" dirty="0"/>
              <a:t>Vi behöver också stöd av större och drivande aktörer för utveckling av affär/innovation, gåvoinflöde, butiksupplevelse, sortering, systemlösningar osv. (ex AI stöd för värdering av plagg).</a:t>
            </a:r>
          </a:p>
          <a:p>
            <a:r>
              <a:rPr lang="sv-SE" sz="1400" dirty="0"/>
              <a:t>Tydligare paketera och kommunicera vårt unika värde (</a:t>
            </a:r>
            <a:r>
              <a:rPr lang="sv-SE" sz="1400" dirty="0" err="1"/>
              <a:t>storytelling</a:t>
            </a:r>
            <a:r>
              <a:rPr lang="sv-SE" sz="1400" dirty="0"/>
              <a:t>).</a:t>
            </a:r>
          </a:p>
          <a:p>
            <a:pPr marL="0" indent="0">
              <a:buNone/>
            </a:pPr>
            <a:endParaRPr lang="sv-SE" sz="1400" dirty="0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E5EB7AB2-09B8-499D-9201-EF7A843AD7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5490" y="393871"/>
            <a:ext cx="4805362" cy="6407150"/>
          </a:xfrm>
          <a:prstGeom prst="rect">
            <a:avLst/>
          </a:prstGeom>
          <a:noFill/>
        </p:spPr>
      </p:pic>
      <p:sp>
        <p:nvSpPr>
          <p:cNvPr id="4112" name="Text Placeholder 4">
            <a:extLst>
              <a:ext uri="{FF2B5EF4-FFF2-40B4-BE49-F238E27FC236}">
                <a16:creationId xmlns:a16="http://schemas.microsoft.com/office/drawing/2014/main" id="{1A4F02D1-5AC1-BF71-FF6D-3EAC651C1BA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260121" y="5768975"/>
            <a:ext cx="1766455" cy="97155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78208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>
            <a:extLst>
              <a:ext uri="{FF2B5EF4-FFF2-40B4-BE49-F238E27FC236}">
                <a16:creationId xmlns:a16="http://schemas.microsoft.com/office/drawing/2014/main" id="{74628344-F44C-3108-F15D-3AFF42B334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64063" y="1839599"/>
            <a:ext cx="6264275" cy="4163522"/>
          </a:xfrm>
        </p:spPr>
        <p:txBody>
          <a:bodyPr/>
          <a:lstStyle/>
          <a:p>
            <a:r>
              <a:rPr lang="sv-SE" dirty="0"/>
              <a:t>Med rätt kunskap och intresse kan sortiment skapas. </a:t>
            </a:r>
          </a:p>
          <a:p>
            <a:pPr marL="0" indent="0">
              <a:buNone/>
            </a:pPr>
            <a:endParaRPr lang="sv-SE" dirty="0"/>
          </a:p>
          <a:p>
            <a:r>
              <a:rPr lang="sv-SE" dirty="0"/>
              <a:t>Samlingar av ”dussinprylar” ex. Rosa Ljung, porslinsdjur</a:t>
            </a:r>
          </a:p>
          <a:p>
            <a:r>
              <a:rPr lang="sv-SE" dirty="0"/>
              <a:t>Samlingar av ”trendplagg /trendprylar”, ex. Rokoko/Marie Antoinette</a:t>
            </a:r>
          </a:p>
          <a:p>
            <a:r>
              <a:rPr lang="sv-SE" dirty="0"/>
              <a:t>Riktat mot specifik målgrupp, ex musikintresserade, </a:t>
            </a:r>
            <a:r>
              <a:rPr lang="sv-SE" dirty="0" err="1"/>
              <a:t>vintageintresserade</a:t>
            </a:r>
            <a:r>
              <a:rPr lang="sv-SE" dirty="0"/>
              <a:t>, barnkläder och barnprylar osv. </a:t>
            </a:r>
          </a:p>
          <a:p>
            <a:endParaRPr lang="sv-SE" dirty="0"/>
          </a:p>
        </p:txBody>
      </p:sp>
      <p:sp>
        <p:nvSpPr>
          <p:cNvPr id="3" name="Rubrik 2">
            <a:extLst>
              <a:ext uri="{FF2B5EF4-FFF2-40B4-BE49-F238E27FC236}">
                <a16:creationId xmlns:a16="http://schemas.microsoft.com/office/drawing/2014/main" id="{413D3AF0-6043-C4B6-DC37-0D85313A3F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Sortiment</a:t>
            </a:r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16B3542A-E618-328A-7B06-8DCF02710A6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32713" y="2407368"/>
            <a:ext cx="4542151" cy="3406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729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B17548E5-8242-9348-A22D-C10E146BF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1137989"/>
            <a:ext cx="5218112" cy="1015663"/>
          </a:xfrm>
        </p:spPr>
        <p:txBody>
          <a:bodyPr anchor="t">
            <a:normAutofit/>
          </a:bodyPr>
          <a:lstStyle/>
          <a:p>
            <a:r>
              <a:rPr lang="sv-SE" dirty="0"/>
              <a:t>Att vara relevant i en föränderlig ti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A8EFA0B-DE60-4466-E70E-1865CDCD2E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7" y="2393954"/>
            <a:ext cx="5218113" cy="3644900"/>
          </a:xfrm>
        </p:spPr>
        <p:txBody>
          <a:bodyPr>
            <a:normAutofit/>
          </a:bodyPr>
          <a:lstStyle/>
          <a:p>
            <a:r>
              <a:rPr lang="sv-SE" sz="1300" dirty="0"/>
              <a:t>Utveckla sortering och aktivt arbeta för att höja kvalitén på gåvoinflödet.</a:t>
            </a:r>
          </a:p>
          <a:p>
            <a:r>
              <a:rPr lang="sv-SE" sz="1300" dirty="0"/>
              <a:t>Hitta lösningar och samarbeten för materialet som inte kan säljas i befintligt skick ”materialbanken”.</a:t>
            </a:r>
          </a:p>
          <a:p>
            <a:r>
              <a:rPr lang="sv-SE" sz="1300" dirty="0"/>
              <a:t>Skapa en tydlig profil och genom det stärka varumärket.</a:t>
            </a:r>
          </a:p>
          <a:p>
            <a:r>
              <a:rPr lang="sv-SE" sz="1300" dirty="0"/>
              <a:t>Ett brett erbjudande - butiker som kompletterar varandra: från kilopris till mer kurerade</a:t>
            </a:r>
          </a:p>
          <a:p>
            <a:r>
              <a:rPr lang="sv-SE" sz="1300" dirty="0"/>
              <a:t>Utveckla en hållbar prismodell i takt med marknaden (så fort vi tar emot en gåva är den inte längre gratis).</a:t>
            </a:r>
          </a:p>
          <a:p>
            <a:r>
              <a:rPr lang="sv-SE" sz="1300" dirty="0"/>
              <a:t>Stärka den digitala närvaron</a:t>
            </a:r>
          </a:p>
          <a:p>
            <a:r>
              <a:rPr lang="sv-SE" sz="1300" dirty="0"/>
              <a:t>Kompetenshöjande insatser för att matcha framtidens cirkulära yrken – vara en  relevant aktör för medarbetare &amp; arbetstränande.</a:t>
            </a:r>
          </a:p>
          <a:p>
            <a:r>
              <a:rPr lang="sv-SE" sz="1300" dirty="0"/>
              <a:t>Möta framtidens arbetskraft – Ungdomar en prioriterad målgrupp, där vi ser behov av fler insatser utifrån rådande  samhällsklimat. Ser över olika </a:t>
            </a:r>
            <a:r>
              <a:rPr lang="sv-SE" sz="1300" dirty="0" err="1"/>
              <a:t>ungdomsspår</a:t>
            </a:r>
            <a:r>
              <a:rPr lang="sv-SE" sz="1300" dirty="0"/>
              <a:t>.</a:t>
            </a:r>
          </a:p>
          <a:p>
            <a:endParaRPr lang="sv-SE" sz="1300" dirty="0"/>
          </a:p>
        </p:txBody>
      </p:sp>
      <p:pic>
        <p:nvPicPr>
          <p:cNvPr id="4" name="Platshållare för bild 3" descr="En bild som visar inomhus&#10;&#10;Automatiskt genererad beskrivning">
            <a:extLst>
              <a:ext uri="{FF2B5EF4-FFF2-40B4-BE49-F238E27FC236}">
                <a16:creationId xmlns:a16="http://schemas.microsoft.com/office/drawing/2014/main" id="{F109A93B-AAC9-ED57-84E7-5933D9AB59F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0" r="15649" b="-1"/>
          <a:stretch>
            <a:fillRect/>
          </a:stretch>
        </p:blipFill>
        <p:spPr>
          <a:xfrm>
            <a:off x="6096000" y="225425"/>
            <a:ext cx="5868988" cy="6407150"/>
          </a:xfrm>
          <a:prstGeom prst="rect">
            <a:avLst/>
          </a:prstGeom>
          <a:noFill/>
        </p:spPr>
      </p:pic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C8ACCEA5-76DF-3DC9-D6B3-41A50539735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260121" y="5768975"/>
            <a:ext cx="1766455" cy="971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1A1A69D1-8985-403C-486D-A00BF5C71D06}"/>
              </a:ext>
            </a:extLst>
          </p:cNvPr>
          <p:cNvSpPr txBox="1"/>
          <p:nvPr/>
        </p:nvSpPr>
        <p:spPr>
          <a:xfrm>
            <a:off x="168445" y="0"/>
            <a:ext cx="1552073" cy="86627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356935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>
            <a:extLst>
              <a:ext uri="{FF2B5EF4-FFF2-40B4-BE49-F238E27FC236}">
                <a16:creationId xmlns:a16="http://schemas.microsoft.com/office/drawing/2014/main" id="{3F6DE89D-C0D3-15CC-DCC5-2AB9DF6B07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37746" y="430980"/>
            <a:ext cx="5357090" cy="753404"/>
          </a:xfrm>
        </p:spPr>
        <p:txBody>
          <a:bodyPr anchor="t">
            <a:normAutofit/>
          </a:bodyPr>
          <a:lstStyle/>
          <a:p>
            <a:r>
              <a:rPr lang="sv-SE" dirty="0"/>
              <a:t>Nycklar</a:t>
            </a:r>
          </a:p>
        </p:txBody>
      </p:sp>
      <p:sp>
        <p:nvSpPr>
          <p:cNvPr id="2" name="Platshållare för innehåll 1">
            <a:extLst>
              <a:ext uri="{FF2B5EF4-FFF2-40B4-BE49-F238E27FC236}">
                <a16:creationId xmlns:a16="http://schemas.microsoft.com/office/drawing/2014/main" id="{66F41F0C-009E-5698-7EED-88773B1012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4883" y="1165610"/>
            <a:ext cx="6292644" cy="5261410"/>
          </a:xfrm>
        </p:spPr>
        <p:txBody>
          <a:bodyPr>
            <a:noAutofit/>
          </a:bodyPr>
          <a:lstStyle/>
          <a:p>
            <a:r>
              <a:rPr lang="sv-SE" sz="1000" b="1" dirty="0"/>
              <a:t>Brett kunderbjudande: </a:t>
            </a:r>
          </a:p>
          <a:p>
            <a:r>
              <a:rPr lang="sv-SE" sz="1000" dirty="0"/>
              <a:t>Når många olika kunder/målgrupper.</a:t>
            </a:r>
          </a:p>
          <a:p>
            <a:pPr marL="0" indent="0">
              <a:buNone/>
            </a:pPr>
            <a:endParaRPr lang="sv-SE" sz="1000" dirty="0"/>
          </a:p>
          <a:p>
            <a:r>
              <a:rPr lang="sv-SE" sz="1000" b="1" dirty="0"/>
              <a:t>Kompetens i varje led:</a:t>
            </a:r>
          </a:p>
          <a:p>
            <a:r>
              <a:rPr lang="sv-SE" sz="1000" b="1" dirty="0"/>
              <a:t>värdering och sortiment</a:t>
            </a:r>
          </a:p>
          <a:p>
            <a:r>
              <a:rPr lang="sv-SE" sz="1000" dirty="0"/>
              <a:t>Maxa gåvans värde genom att sälja den i rätt kanal. </a:t>
            </a:r>
          </a:p>
          <a:p>
            <a:r>
              <a:rPr lang="sv-SE" sz="1000" dirty="0"/>
              <a:t>Hitta guldkornen</a:t>
            </a:r>
          </a:p>
          <a:p>
            <a:r>
              <a:rPr lang="sv-SE" sz="1000" dirty="0"/>
              <a:t>Paketera sortiment ”vanlig loppis” blir ”utvalt”</a:t>
            </a:r>
          </a:p>
          <a:p>
            <a:r>
              <a:rPr lang="sv-SE" sz="1000" b="1" dirty="0"/>
              <a:t>Logistik och produktionsflöden</a:t>
            </a:r>
          </a:p>
          <a:p>
            <a:pPr marL="0" indent="0">
              <a:buNone/>
            </a:pPr>
            <a:endParaRPr lang="sv-SE" sz="1000" dirty="0"/>
          </a:p>
          <a:p>
            <a:r>
              <a:rPr lang="sv-SE" sz="1000" b="1" dirty="0"/>
              <a:t>Minimera avfall </a:t>
            </a:r>
          </a:p>
          <a:p>
            <a:r>
              <a:rPr lang="sv-SE" sz="1000" dirty="0"/>
              <a:t>Flera försäljningschanser för varorna. </a:t>
            </a:r>
          </a:p>
          <a:p>
            <a:r>
              <a:rPr lang="sv-SE" sz="1000" dirty="0"/>
              <a:t>”Sälj skräp”</a:t>
            </a:r>
          </a:p>
          <a:p>
            <a:r>
              <a:rPr lang="sv-SE" sz="1000" dirty="0" err="1"/>
              <a:t>Repair</a:t>
            </a:r>
            <a:endParaRPr lang="sv-SE" sz="1000" dirty="0"/>
          </a:p>
          <a:p>
            <a:r>
              <a:rPr lang="sv-SE" sz="1000" dirty="0"/>
              <a:t>Remake</a:t>
            </a:r>
          </a:p>
          <a:p>
            <a:r>
              <a:rPr lang="sv-SE" sz="1000" b="1" dirty="0"/>
              <a:t>Kommunikation, vår USP.</a:t>
            </a:r>
          </a:p>
          <a:p>
            <a:r>
              <a:rPr lang="sv-SE" sz="1000" dirty="0"/>
              <a:t>Vi har en unik position! Hållbarhet för både människa och miljö!</a:t>
            </a:r>
          </a:p>
          <a:p>
            <a:pPr marL="0" indent="0">
              <a:buNone/>
            </a:pPr>
            <a:endParaRPr lang="sv-SE" sz="1000" dirty="0"/>
          </a:p>
          <a:p>
            <a:r>
              <a:rPr lang="sv-SE" sz="1000" b="1" dirty="0"/>
              <a:t>Ha koll på produktmarginalen för lönsamhet. 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BB3F19C8-1AEF-BA12-D9D5-6C1A179B8E1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8706" y="0"/>
            <a:ext cx="457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8347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>
            <a:extLst>
              <a:ext uri="{FF2B5EF4-FFF2-40B4-BE49-F238E27FC236}">
                <a16:creationId xmlns:a16="http://schemas.microsoft.com/office/drawing/2014/main" id="{2C7C5118-980B-D5DA-E09B-1217BB3C11C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0618" r="6776"/>
          <a:stretch>
            <a:fillRect/>
          </a:stretch>
        </p:blipFill>
        <p:spPr>
          <a:xfrm>
            <a:off x="336884" y="1088582"/>
            <a:ext cx="5077327" cy="5674659"/>
          </a:xfrm>
          <a:prstGeom prst="rect">
            <a:avLst/>
          </a:prstGeom>
        </p:spPr>
      </p:pic>
      <p:pic>
        <p:nvPicPr>
          <p:cNvPr id="5" name="Bildobjekt 4" descr="En bild som visar sten&#10;&#10;Automatiskt genererad beskrivning">
            <a:extLst>
              <a:ext uri="{FF2B5EF4-FFF2-40B4-BE49-F238E27FC236}">
                <a16:creationId xmlns:a16="http://schemas.microsoft.com/office/drawing/2014/main" id="{13F4E0A1-D9DA-FFA0-AAAD-0E5950CE583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4357" y="1090280"/>
            <a:ext cx="5077326" cy="5697531"/>
          </a:xfrm>
          <a:prstGeom prst="rect">
            <a:avLst/>
          </a:prstGeom>
        </p:spPr>
      </p:pic>
      <p:sp>
        <p:nvSpPr>
          <p:cNvPr id="8" name="Rubrik 2">
            <a:extLst>
              <a:ext uri="{FF2B5EF4-FFF2-40B4-BE49-F238E27FC236}">
                <a16:creationId xmlns:a16="http://schemas.microsoft.com/office/drawing/2014/main" id="{D9E7BBAF-1DE3-00C0-480B-1D64EF697E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63863" y="526799"/>
            <a:ext cx="6264275" cy="754062"/>
          </a:xfrm>
        </p:spPr>
        <p:txBody>
          <a:bodyPr>
            <a:normAutofit/>
          </a:bodyPr>
          <a:lstStyle/>
          <a:p>
            <a:r>
              <a:rPr lang="sv-SE" dirty="0">
                <a:solidFill>
                  <a:schemeClr val="accent5"/>
                </a:solidFill>
              </a:rPr>
              <a:t> </a:t>
            </a:r>
            <a:r>
              <a:rPr lang="sv-SE" dirty="0"/>
              <a:t>Brett kunderbjudande</a:t>
            </a:r>
          </a:p>
        </p:txBody>
      </p:sp>
      <p:sp>
        <p:nvSpPr>
          <p:cNvPr id="11" name="Platshållare för innehåll 1">
            <a:extLst>
              <a:ext uri="{FF2B5EF4-FFF2-40B4-BE49-F238E27FC236}">
                <a16:creationId xmlns:a16="http://schemas.microsoft.com/office/drawing/2014/main" id="{CF338E9D-AF9E-60B9-7A52-370BBB3ADE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63863" y="3372772"/>
            <a:ext cx="6264275" cy="2910301"/>
          </a:xfrm>
          <a:solidFill>
            <a:schemeClr val="tx1">
              <a:lumMod val="50000"/>
              <a:lumOff val="50000"/>
            </a:schemeClr>
          </a:solidFill>
        </p:spPr>
        <p:txBody>
          <a:bodyPr>
            <a:normAutofit/>
          </a:bodyPr>
          <a:lstStyle/>
          <a:p>
            <a:pPr marL="0" indent="0">
              <a:buNone/>
            </a:pPr>
            <a:endParaRPr lang="sv-SE" dirty="0">
              <a:solidFill>
                <a:schemeClr val="bg1"/>
              </a:solidFill>
            </a:endParaRPr>
          </a:p>
          <a:p>
            <a:r>
              <a:rPr lang="sv-SE" dirty="0">
                <a:solidFill>
                  <a:schemeClr val="bg1"/>
                </a:solidFill>
              </a:rPr>
              <a:t>Outlet: KG-pris kläder</a:t>
            </a:r>
          </a:p>
          <a:p>
            <a:r>
              <a:rPr lang="sv-SE" dirty="0">
                <a:solidFill>
                  <a:schemeClr val="bg1"/>
                </a:solidFill>
              </a:rPr>
              <a:t>Standard: ”vanlig loppis/secondhand”</a:t>
            </a:r>
          </a:p>
          <a:p>
            <a:r>
              <a:rPr lang="sv-SE" dirty="0">
                <a:solidFill>
                  <a:schemeClr val="bg1"/>
                </a:solidFill>
              </a:rPr>
              <a:t>Utvalt: kurerat sortiment, hög kvalité, fina varumärken.</a:t>
            </a:r>
          </a:p>
          <a:p>
            <a:r>
              <a:rPr lang="sv-SE" dirty="0">
                <a:solidFill>
                  <a:schemeClr val="bg1"/>
                </a:solidFill>
              </a:rPr>
              <a:t>E-handel, egen + Tradera</a:t>
            </a:r>
          </a:p>
          <a:p>
            <a:r>
              <a:rPr lang="sv-SE" dirty="0" err="1">
                <a:solidFill>
                  <a:schemeClr val="bg1"/>
                </a:solidFill>
              </a:rPr>
              <a:t>Upcycling</a:t>
            </a:r>
            <a:r>
              <a:rPr lang="sv-SE" dirty="0">
                <a:solidFill>
                  <a:schemeClr val="bg1"/>
                </a:solidFill>
              </a:rPr>
              <a:t>: Remake Sthlm</a:t>
            </a:r>
          </a:p>
          <a:p>
            <a:r>
              <a:rPr lang="sv-SE" dirty="0">
                <a:solidFill>
                  <a:schemeClr val="bg1"/>
                </a:solidFill>
              </a:rPr>
              <a:t>Auktion</a:t>
            </a:r>
          </a:p>
          <a:p>
            <a:pPr marL="0" indent="0">
              <a:buNone/>
            </a:pPr>
            <a:endParaRPr lang="sv-S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79631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C5B191-834B-35F9-A482-0E3CBA7166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BC921ECF-EDA1-D740-5C25-9A15151A22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1174087"/>
            <a:ext cx="5218112" cy="955507"/>
          </a:xfrm>
        </p:spPr>
        <p:txBody>
          <a:bodyPr anchor="t">
            <a:normAutofit/>
          </a:bodyPr>
          <a:lstStyle/>
          <a:p>
            <a:r>
              <a:rPr lang="sv-SE" dirty="0"/>
              <a:t>Nätverk &amp; samverkan med aktörer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C379A51B-5F18-FDB6-95B4-166E9320C2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7" y="2309734"/>
            <a:ext cx="5218113" cy="3644900"/>
          </a:xfrm>
        </p:spPr>
        <p:txBody>
          <a:bodyPr>
            <a:normAutofit/>
          </a:bodyPr>
          <a:lstStyle/>
          <a:p>
            <a:r>
              <a:rPr lang="sv-SE" sz="1400" dirty="0"/>
              <a:t>Aktiv dialog med handeln och branschaktörer.</a:t>
            </a:r>
          </a:p>
          <a:p>
            <a:pPr lvl="1"/>
            <a:r>
              <a:rPr lang="sv-SE" sz="1400" dirty="0"/>
              <a:t>Ex: Samverkan med Svensk Handel i Almedalen &amp; D-Congress, nå nya plattformar, synlighet och öppna upp för dialog.</a:t>
            </a:r>
          </a:p>
          <a:p>
            <a:r>
              <a:rPr lang="sv-SE" sz="1400" dirty="0"/>
              <a:t>Samarbete med organisationer och nätverk lokalt/regionalt.</a:t>
            </a:r>
          </a:p>
          <a:p>
            <a:pPr lvl="1"/>
            <a:r>
              <a:rPr lang="sv-SE" sz="1400" dirty="0"/>
              <a:t>Ex: Nätverk second hand – gemensam röst i omställningen</a:t>
            </a:r>
          </a:p>
          <a:p>
            <a:r>
              <a:rPr lang="sv-SE" sz="1400" dirty="0"/>
              <a:t>Delta i innovationsprojekt och utbildningsmiljöer </a:t>
            </a:r>
          </a:p>
          <a:p>
            <a:pPr lvl="1"/>
            <a:r>
              <a:rPr lang="sv-SE" sz="1400" dirty="0"/>
              <a:t>Ex: Samverkan med NTA -  inkludera </a:t>
            </a:r>
            <a:r>
              <a:rPr lang="sv-SE" sz="1400" dirty="0" err="1"/>
              <a:t>refresh</a:t>
            </a:r>
            <a:r>
              <a:rPr lang="sv-SE" sz="1400" dirty="0"/>
              <a:t> och lagning i butik.</a:t>
            </a:r>
          </a:p>
          <a:p>
            <a:r>
              <a:rPr lang="sv-SE" sz="1400" dirty="0"/>
              <a:t>Stöttning med utveckling av affärsplan för second hand– Montell &amp; Partners.</a:t>
            </a:r>
          </a:p>
          <a:p>
            <a:r>
              <a:rPr lang="sv-SE" sz="1400" dirty="0"/>
              <a:t>Nationella samarbeten som Ikea, Intersport, MQ och Humana Sverige. Möjlighet till att utveckla dialogen och samarbetet på lokalnivå.</a:t>
            </a:r>
          </a:p>
          <a:p>
            <a:pPr marL="0" indent="0">
              <a:buNone/>
            </a:pPr>
            <a:endParaRPr lang="sv-SE" sz="1400" dirty="0"/>
          </a:p>
          <a:p>
            <a:pPr marL="0" indent="0">
              <a:buNone/>
            </a:pPr>
            <a:endParaRPr lang="sv-SE" sz="1400" dirty="0"/>
          </a:p>
          <a:p>
            <a:pPr marL="0" indent="0">
              <a:buNone/>
            </a:pPr>
            <a:endParaRPr lang="sv-SE" sz="1400" dirty="0"/>
          </a:p>
        </p:txBody>
      </p:sp>
      <p:pic>
        <p:nvPicPr>
          <p:cNvPr id="14" name="Platshållare för bild 13">
            <a:extLst>
              <a:ext uri="{FF2B5EF4-FFF2-40B4-BE49-F238E27FC236}">
                <a16:creationId xmlns:a16="http://schemas.microsoft.com/office/drawing/2014/main" id="{FA70F336-6D29-5B1E-0CB3-B35341BFEB2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17" r="28817"/>
          <a:stretch/>
        </p:blipFill>
        <p:spPr>
          <a:xfrm rot="5400000">
            <a:off x="6342434" y="987803"/>
            <a:ext cx="5376120" cy="5868988"/>
          </a:xfrm>
          <a:prstGeom prst="rect">
            <a:avLst/>
          </a:prstGeom>
          <a:noFill/>
        </p:spPr>
      </p:pic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73DA7042-742A-26E1-1E5B-1CA43EDF026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260121" y="5768975"/>
            <a:ext cx="1766455" cy="97155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textruta 3">
            <a:extLst>
              <a:ext uri="{FF2B5EF4-FFF2-40B4-BE49-F238E27FC236}">
                <a16:creationId xmlns:a16="http://schemas.microsoft.com/office/drawing/2014/main" id="{D9FA5851-6E08-CC2A-DBE7-33721B22EEC0}"/>
              </a:ext>
            </a:extLst>
          </p:cNvPr>
          <p:cNvSpPr txBox="1"/>
          <p:nvPr/>
        </p:nvSpPr>
        <p:spPr>
          <a:xfrm>
            <a:off x="168445" y="0"/>
            <a:ext cx="1552073" cy="86627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8404359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0D880B-1C57-7BB7-7489-025D85B561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2">
            <a:extLst>
              <a:ext uri="{FF2B5EF4-FFF2-40B4-BE49-F238E27FC236}">
                <a16:creationId xmlns:a16="http://schemas.microsoft.com/office/drawing/2014/main" id="{1C2205AD-6387-C876-BC1B-BC80E82FD0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34" r="4913" b="1"/>
          <a:stretch>
            <a:fillRect/>
          </a:stretch>
        </p:blipFill>
        <p:spPr bwMode="auto">
          <a:xfrm>
            <a:off x="3094262" y="1237096"/>
            <a:ext cx="8754062" cy="51446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ubrik 2">
            <a:extLst>
              <a:ext uri="{FF2B5EF4-FFF2-40B4-BE49-F238E27FC236}">
                <a16:creationId xmlns:a16="http://schemas.microsoft.com/office/drawing/2014/main" id="{26ECE0D5-BB9F-6CC6-762D-69DBF1CD5A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677" y="1237096"/>
            <a:ext cx="2482650" cy="753404"/>
          </a:xfrm>
        </p:spPr>
        <p:txBody>
          <a:bodyPr anchor="t">
            <a:noAutofit/>
          </a:bodyPr>
          <a:lstStyle/>
          <a:p>
            <a:r>
              <a:rPr lang="sv-SE" sz="2800" dirty="0"/>
              <a:t>Kompetens i varje led: </a:t>
            </a:r>
          </a:p>
        </p:txBody>
      </p:sp>
      <p:sp>
        <p:nvSpPr>
          <p:cNvPr id="2" name="Platshållare för innehåll 1">
            <a:extLst>
              <a:ext uri="{FF2B5EF4-FFF2-40B4-BE49-F238E27FC236}">
                <a16:creationId xmlns:a16="http://schemas.microsoft.com/office/drawing/2014/main" id="{66B9E312-1893-9BA2-4096-842F612E95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3676" y="2218228"/>
            <a:ext cx="2579998" cy="4163522"/>
          </a:xfrm>
        </p:spPr>
        <p:txBody>
          <a:bodyPr>
            <a:normAutofit lnSpcReduction="10000"/>
          </a:bodyPr>
          <a:lstStyle/>
          <a:p>
            <a:r>
              <a:rPr lang="sv-SE" b="1" dirty="0"/>
              <a:t>Rekrytering</a:t>
            </a:r>
            <a:r>
              <a:rPr lang="sv-SE" dirty="0"/>
              <a:t>, rätt person på rätt plats är avgörande. </a:t>
            </a:r>
          </a:p>
          <a:p>
            <a:r>
              <a:rPr lang="sv-SE" b="1" dirty="0"/>
              <a:t>Värdering</a:t>
            </a:r>
            <a:r>
              <a:rPr lang="sv-SE" dirty="0"/>
              <a:t> – mesta möjliga värde av gåvorna och fördelat till rätt försäljningskanal. </a:t>
            </a:r>
          </a:p>
          <a:p>
            <a:r>
              <a:rPr lang="sv-SE" dirty="0"/>
              <a:t>Jobba med Sortiment.</a:t>
            </a:r>
          </a:p>
          <a:p>
            <a:r>
              <a:rPr lang="sv-SE" b="1" dirty="0"/>
              <a:t>Logistik</a:t>
            </a:r>
            <a:r>
              <a:rPr lang="sv-SE" dirty="0"/>
              <a:t> – ruttplanering för transport.</a:t>
            </a:r>
          </a:p>
          <a:p>
            <a:r>
              <a:rPr lang="sv-SE" dirty="0"/>
              <a:t> </a:t>
            </a:r>
            <a:r>
              <a:rPr lang="sv-SE" b="1" dirty="0"/>
              <a:t>Schemaläggning</a:t>
            </a:r>
            <a:r>
              <a:rPr lang="sv-SE" dirty="0"/>
              <a:t> för produktionsbemanning. 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8763588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3FF84E88-7DB5-D306-877C-FC96FE08D3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91" y="56679"/>
            <a:ext cx="12127017" cy="6744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12359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>
            <a:extLst>
              <a:ext uri="{FF2B5EF4-FFF2-40B4-BE49-F238E27FC236}">
                <a16:creationId xmlns:a16="http://schemas.microsoft.com/office/drawing/2014/main" id="{8C671566-7232-360D-49E0-7E233D29AD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47884" y="2579175"/>
            <a:ext cx="6264275" cy="2738783"/>
          </a:xfrm>
        </p:spPr>
        <p:txBody>
          <a:bodyPr>
            <a:normAutofit/>
          </a:bodyPr>
          <a:lstStyle/>
          <a:p>
            <a:r>
              <a:rPr lang="sv-SE" b="1" dirty="0"/>
              <a:t>Den som blir bäst på att paketera och sälja skräp kommer bli framtidens vinnare. </a:t>
            </a:r>
          </a:p>
          <a:p>
            <a:endParaRPr lang="sv-SE" b="1" dirty="0"/>
          </a:p>
          <a:p>
            <a:r>
              <a:rPr lang="sv-SE" b="1" dirty="0"/>
              <a:t>Mod att tänka nytt och våga prova!</a:t>
            </a:r>
          </a:p>
          <a:p>
            <a:r>
              <a:rPr lang="sv-SE" dirty="0"/>
              <a:t>Trasiga dockor till Halloween</a:t>
            </a:r>
          </a:p>
          <a:p>
            <a:r>
              <a:rPr lang="sv-SE" dirty="0"/>
              <a:t>Udda </a:t>
            </a:r>
            <a:r>
              <a:rPr lang="sv-SE" dirty="0" err="1"/>
              <a:t>bestik</a:t>
            </a:r>
            <a:r>
              <a:rPr lang="sv-SE" dirty="0"/>
              <a:t> i parti för en smyckeskonstnär</a:t>
            </a:r>
          </a:p>
          <a:p>
            <a:r>
              <a:rPr lang="sv-SE" dirty="0"/>
              <a:t>Parti virkade </a:t>
            </a:r>
            <a:r>
              <a:rPr lang="sv-SE" dirty="0" err="1"/>
              <a:t>smådukar</a:t>
            </a:r>
            <a:r>
              <a:rPr lang="sv-SE" dirty="0"/>
              <a:t> för </a:t>
            </a:r>
            <a:r>
              <a:rPr lang="sv-SE" dirty="0" err="1"/>
              <a:t>upcycling</a:t>
            </a:r>
            <a:endParaRPr lang="sv-SE" dirty="0"/>
          </a:p>
          <a:p>
            <a:r>
              <a:rPr lang="sv-SE" dirty="0" err="1"/>
              <a:t>Repair</a:t>
            </a:r>
            <a:r>
              <a:rPr lang="sv-SE" dirty="0"/>
              <a:t> – vad kan rengöras eller relativt enkelt repareras? </a:t>
            </a:r>
          </a:p>
          <a:p>
            <a:endParaRPr lang="sv-SE" dirty="0"/>
          </a:p>
          <a:p>
            <a:pPr marL="0" indent="0">
              <a:buNone/>
            </a:pPr>
            <a:endParaRPr lang="sv-SE" dirty="0"/>
          </a:p>
          <a:p>
            <a:pPr marL="0" indent="0">
              <a:buNone/>
            </a:pPr>
            <a:endParaRPr lang="sv-SE" b="1" dirty="0"/>
          </a:p>
        </p:txBody>
      </p:sp>
      <p:sp>
        <p:nvSpPr>
          <p:cNvPr id="3" name="Rubrik 2">
            <a:extLst>
              <a:ext uri="{FF2B5EF4-FFF2-40B4-BE49-F238E27FC236}">
                <a16:creationId xmlns:a16="http://schemas.microsoft.com/office/drawing/2014/main" id="{4B3D0366-E1BA-B283-E2C1-AC2FA5235A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8357" y="1237096"/>
            <a:ext cx="6264274" cy="753404"/>
          </a:xfrm>
        </p:spPr>
        <p:txBody>
          <a:bodyPr>
            <a:normAutofit fontScale="90000"/>
          </a:bodyPr>
          <a:lstStyle/>
          <a:p>
            <a:r>
              <a:rPr lang="sv-SE" dirty="0"/>
              <a:t>Minimera avfall, ”Sälja skräp”</a:t>
            </a:r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7512E51A-6235-8CB1-7720-ECB2C3E65A0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454021" y="1911646"/>
            <a:ext cx="5145847" cy="3859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43789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16E154D-970C-0886-CB98-C74AF8BB98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2299" y="1048661"/>
            <a:ext cx="8721424" cy="720000"/>
          </a:xfrm>
        </p:spPr>
        <p:txBody>
          <a:bodyPr/>
          <a:lstStyle/>
          <a:p>
            <a:r>
              <a:rPr lang="sv-SE" dirty="0" err="1"/>
              <a:t>Repair</a:t>
            </a:r>
            <a:r>
              <a:rPr lang="sv-SE" dirty="0"/>
              <a:t> - skinnväskor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98DF9489-4149-A6F6-6956-B3C0777D14A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192" b="26109"/>
          <a:stretch>
            <a:fillRect/>
          </a:stretch>
        </p:blipFill>
        <p:spPr bwMode="auto">
          <a:xfrm>
            <a:off x="7564323" y="2542321"/>
            <a:ext cx="3230563" cy="3960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>
            <a:extLst>
              <a:ext uri="{FF2B5EF4-FFF2-40B4-BE49-F238E27FC236}">
                <a16:creationId xmlns:a16="http://schemas.microsoft.com/office/drawing/2014/main" id="{CB05E240-4E83-0810-C40E-4C76E1D4C94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192" b="26109"/>
          <a:stretch>
            <a:fillRect/>
          </a:stretch>
        </p:blipFill>
        <p:spPr bwMode="auto">
          <a:xfrm>
            <a:off x="4610460" y="2542321"/>
            <a:ext cx="3290505" cy="40339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F1984327-9EB8-CA81-C97E-A28A718380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192" b="26109"/>
          <a:stretch>
            <a:fillRect/>
          </a:stretch>
        </p:blipFill>
        <p:spPr bwMode="auto">
          <a:xfrm>
            <a:off x="1662299" y="2542323"/>
            <a:ext cx="3290504" cy="40339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ruta 3">
            <a:extLst>
              <a:ext uri="{FF2B5EF4-FFF2-40B4-BE49-F238E27FC236}">
                <a16:creationId xmlns:a16="http://schemas.microsoft.com/office/drawing/2014/main" id="{9CA00F7E-64E5-0DC6-09E7-E8B9C29EBFBC}"/>
              </a:ext>
            </a:extLst>
          </p:cNvPr>
          <p:cNvSpPr txBox="1"/>
          <p:nvPr/>
        </p:nvSpPr>
        <p:spPr>
          <a:xfrm>
            <a:off x="1735288" y="1489226"/>
            <a:ext cx="669933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/>
              <a:t>Skinnväskor får nytt liv – rengörs, </a:t>
            </a:r>
            <a:r>
              <a:rPr lang="sv-SE" dirty="0" err="1"/>
              <a:t>återinfettas</a:t>
            </a:r>
            <a:r>
              <a:rPr lang="sv-SE" dirty="0"/>
              <a:t>, mindre lagningar.</a:t>
            </a:r>
          </a:p>
          <a:p>
            <a:r>
              <a:rPr lang="sv-SE" dirty="0"/>
              <a:t>Volontärsdrivet</a:t>
            </a:r>
          </a:p>
          <a:p>
            <a:r>
              <a:rPr lang="sv-SE" dirty="0"/>
              <a:t>Ger ”utvalt” sortiment.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10950CC-EDEE-D0FB-6F42-591E41F0E24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547" b="22566"/>
          <a:stretch>
            <a:fillRect/>
          </a:stretch>
        </p:blipFill>
        <p:spPr bwMode="auto">
          <a:xfrm>
            <a:off x="9053773" y="151005"/>
            <a:ext cx="2951856" cy="28648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992831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ockholms Stadsmission">
  <a:themeElements>
    <a:clrScheme name="Stockholms Stadsmission">
      <a:dk1>
        <a:sysClr val="windowText" lastClr="000000"/>
      </a:dk1>
      <a:lt1>
        <a:sysClr val="window" lastClr="FFFFFF"/>
      </a:lt1>
      <a:dk2>
        <a:srgbClr val="EE7F00"/>
      </a:dk2>
      <a:lt2>
        <a:srgbClr val="262626"/>
      </a:lt2>
      <a:accent1>
        <a:srgbClr val="F3A54D"/>
      </a:accent1>
      <a:accent2>
        <a:srgbClr val="F8CC99"/>
      </a:accent2>
      <a:accent3>
        <a:srgbClr val="FFE5CC"/>
      </a:accent3>
      <a:accent4>
        <a:srgbClr val="4D4D4D"/>
      </a:accent4>
      <a:accent5>
        <a:srgbClr val="999999"/>
      </a:accent5>
      <a:accent6>
        <a:srgbClr val="D7D7D7"/>
      </a:accent6>
      <a:hlink>
        <a:srgbClr val="0563C1"/>
      </a:hlink>
      <a:folHlink>
        <a:srgbClr val="954F72"/>
      </a:folHlink>
    </a:clrScheme>
    <a:fontScheme name="Anpassat 84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>
            <a:lumMod val="10000"/>
            <a:lumOff val="90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1">
              <a:lumMod val="75000"/>
            </a:schemeClr>
          </a:soli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tockholms Stadsmission.potx" id="{30E1357C-9FF1-4420-B1B4-CFA4F7C55CC7}" vid="{FF08575C-426D-4307-A3DB-195D0BB0AD74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A4CB48ACAF2CD488A228E9A4DB9D245" ma:contentTypeVersion="9" ma:contentTypeDescription="Skapa ett nytt dokument." ma:contentTypeScope="" ma:versionID="08278f37cd5dd1d743316589ad3bbace">
  <xsd:schema xmlns:xsd="http://www.w3.org/2001/XMLSchema" xmlns:xs="http://www.w3.org/2001/XMLSchema" xmlns:p="http://schemas.microsoft.com/office/2006/metadata/properties" xmlns:ns2="23f1ab3f-6940-4d00-9c4c-2b153cf7a64a" xmlns:ns3="76a574ab-4149-4f59-ab77-83963631cd2f" targetNamespace="http://schemas.microsoft.com/office/2006/metadata/properties" ma:root="true" ma:fieldsID="ae5ed1867af262fb83a79935628ccaa4" ns2:_="" ns3:_="">
    <xsd:import namespace="23f1ab3f-6940-4d00-9c4c-2b153cf7a64a"/>
    <xsd:import namespace="76a574ab-4149-4f59-ab77-83963631cd2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f1ab3f-6940-4d00-9c4c-2b153cf7a64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Bildmarkeringar" ma:readOnly="false" ma:fieldId="{5cf76f15-5ced-4ddc-b409-7134ff3c332f}" ma:taxonomyMulti="true" ma:sspId="44b08405-0f0f-4319-870e-8776e2008ba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a574ab-4149-4f59-ab77-83963631cd2f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d621b8a4-fede-4c9d-86bf-d5bcbe7a19ab}" ma:internalName="TaxCatchAll" ma:showField="CatchAllData" ma:web="76a574ab-4149-4f59-ab77-83963631cd2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3f1ab3f-6940-4d00-9c4c-2b153cf7a64a">
      <Terms xmlns="http://schemas.microsoft.com/office/infopath/2007/PartnerControls"/>
    </lcf76f155ced4ddcb4097134ff3c332f>
    <TaxCatchAll xmlns="76a574ab-4149-4f59-ab77-83963631cd2f" xsi:nil="true"/>
  </documentManagement>
</p:properties>
</file>

<file path=customXml/itemProps1.xml><?xml version="1.0" encoding="utf-8"?>
<ds:datastoreItem xmlns:ds="http://schemas.openxmlformats.org/officeDocument/2006/customXml" ds:itemID="{DDB7302A-651B-411B-AAFE-519C41E873D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3f1ab3f-6940-4d00-9c4c-2b153cf7a64a"/>
    <ds:schemaRef ds:uri="76a574ab-4149-4f59-ab77-83963631cd2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55482F3-D341-4EF7-BCBE-A4B031127F7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6C18E88-879C-46C2-8F09-79CD8FAAA097}">
  <ds:schemaRefs>
    <ds:schemaRef ds:uri="76a574ab-4149-4f59-ab77-83963631cd2f"/>
    <ds:schemaRef ds:uri="http://schemas.openxmlformats.org/package/2006/metadata/core-properties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microsoft.com/office/infopath/2007/PartnerControls"/>
    <ds:schemaRef ds:uri="23f1ab3f-6940-4d00-9c4c-2b153cf7a64a"/>
    <ds:schemaRef ds:uri="http://www.w3.org/XML/1998/namespace"/>
    <ds:schemaRef ds:uri="http://purl.org/dc/dcmitype/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tockholms Stadsmission</Template>
  <TotalTime>1134</TotalTime>
  <Words>678</Words>
  <Application>Microsoft Office PowerPoint</Application>
  <PresentationFormat>Bredbild</PresentationFormat>
  <Paragraphs>91</Paragraphs>
  <Slides>12</Slides>
  <Notes>2</Notes>
  <HiddenSlides>1</HiddenSlides>
  <MMClips>0</MMClips>
  <ScaleCrop>false</ScaleCrop>
  <HeadingPairs>
    <vt:vector size="8" baseType="variant">
      <vt:variant>
        <vt:lpstr>Använt teckensnitt</vt:lpstr>
      </vt:variant>
      <vt:variant>
        <vt:i4>3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2</vt:i4>
      </vt:variant>
    </vt:vector>
  </HeadingPairs>
  <TitlesOfParts>
    <vt:vector size="17" baseType="lpstr">
      <vt:lpstr>Arial</vt:lpstr>
      <vt:lpstr>Arial Black</vt:lpstr>
      <vt:lpstr>Calibri</vt:lpstr>
      <vt:lpstr>Stockholms Stadsmission</vt:lpstr>
      <vt:lpstr>think-cell Slide</vt:lpstr>
      <vt:lpstr>Stockholm &amp;  Göteborg</vt:lpstr>
      <vt:lpstr>Att vara relevant i en föränderlig tid</vt:lpstr>
      <vt:lpstr>Nycklar</vt:lpstr>
      <vt:lpstr> Brett kunderbjudande</vt:lpstr>
      <vt:lpstr>Nätverk &amp; samverkan med aktörer</vt:lpstr>
      <vt:lpstr>Kompetens i varje led: </vt:lpstr>
      <vt:lpstr>PowerPoint-presentation</vt:lpstr>
      <vt:lpstr>Minimera avfall, ”Sälja skräp”</vt:lpstr>
      <vt:lpstr>Repair - skinnväskor</vt:lpstr>
      <vt:lpstr>PowerPoint-presentation</vt:lpstr>
      <vt:lpstr>Framåtblick</vt:lpstr>
      <vt:lpstr>Sortime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nn-Sofie KahlLöfqvist</dc:creator>
  <cp:lastModifiedBy>Ann-Sofie KahlLöfqvist</cp:lastModifiedBy>
  <cp:revision>3</cp:revision>
  <dcterms:created xsi:type="dcterms:W3CDTF">2026-04-21T16:23:16Z</dcterms:created>
  <dcterms:modified xsi:type="dcterms:W3CDTF">2026-05-06T13:17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A4CB48ACAF2CD488A228E9A4DB9D245</vt:lpwstr>
  </property>
</Properties>
</file>